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heme/theme2.xml" ContentType="application/vnd.openxmlformats-officedocument.theme+xml"/>
  <Override PartName="/ppt/tags/tag16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"/>
  </p:notesMasterIdLst>
  <p:sldIdLst>
    <p:sldId id="797" r:id="rId2"/>
    <p:sldId id="2147473475" r:id="rId3"/>
    <p:sldId id="2147473476" r:id="rId4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2D91"/>
    <a:srgbClr val="DE28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0336D85-0EC6-4F95-8482-3B1BC6B9B70C}" v="2" dt="2023-05-16T08:12:28.888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3792" autoAdjust="0"/>
  </p:normalViewPr>
  <p:slideViewPr>
    <p:cSldViewPr snapToGrid="0">
      <p:cViewPr varScale="1">
        <p:scale>
          <a:sx n="122" d="100"/>
          <a:sy n="122" d="100"/>
        </p:scale>
        <p:origin x="90" y="1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microsoft.com/office/2015/10/relationships/revisionInfo" Target="revisionInfo.xml"/><Relationship Id="rId5" Type="http://schemas.openxmlformats.org/officeDocument/2006/relationships/notesMaster" Target="notesMasters/notesMaster1.xml"/><Relationship Id="rId10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azzana Giuseppe Pio Alessandro (Open Fiber)" userId="a1b5f71e-fe05-48aa-a5e9-bbbc1a593467" providerId="ADAL" clId="{946C9840-91DE-4850-962B-5B20E1E4D639}"/>
    <pc:docChg chg="custSel modSld">
      <pc:chgData name="Vazzana Giuseppe Pio Alessandro (Open Fiber)" userId="a1b5f71e-fe05-48aa-a5e9-bbbc1a593467" providerId="ADAL" clId="{946C9840-91DE-4850-962B-5B20E1E4D639}" dt="2023-05-16T11:41:27.250" v="23" actId="1076"/>
      <pc:docMkLst>
        <pc:docMk/>
      </pc:docMkLst>
      <pc:sldChg chg="addSp delSp modSp mod">
        <pc:chgData name="Vazzana Giuseppe Pio Alessandro (Open Fiber)" userId="a1b5f71e-fe05-48aa-a5e9-bbbc1a593467" providerId="ADAL" clId="{946C9840-91DE-4850-962B-5B20E1E4D639}" dt="2023-05-16T11:41:27.250" v="23" actId="1076"/>
        <pc:sldMkLst>
          <pc:docMk/>
          <pc:sldMk cId="248180310" sldId="2147473475"/>
        </pc:sldMkLst>
        <pc:picChg chg="del">
          <ac:chgData name="Vazzana Giuseppe Pio Alessandro (Open Fiber)" userId="a1b5f71e-fe05-48aa-a5e9-bbbc1a593467" providerId="ADAL" clId="{946C9840-91DE-4850-962B-5B20E1E4D639}" dt="2023-05-16T09:21:07.998" v="0" actId="478"/>
          <ac:picMkLst>
            <pc:docMk/>
            <pc:sldMk cId="248180310" sldId="2147473475"/>
            <ac:picMk id="3" creationId="{26BBE398-EB6D-3FB4-EDA0-41B5A6535AC1}"/>
          </ac:picMkLst>
        </pc:picChg>
        <pc:picChg chg="add mod">
          <ac:chgData name="Vazzana Giuseppe Pio Alessandro (Open Fiber)" userId="a1b5f71e-fe05-48aa-a5e9-bbbc1a593467" providerId="ADAL" clId="{946C9840-91DE-4850-962B-5B20E1E4D639}" dt="2023-05-16T11:41:27.250" v="23" actId="1076"/>
          <ac:picMkLst>
            <pc:docMk/>
            <pc:sldMk cId="248180310" sldId="2147473475"/>
            <ac:picMk id="3" creationId="{F7B1F6E9-3F8B-7AB7-CB13-393BE6797EA7}"/>
          </ac:picMkLst>
        </pc:picChg>
        <pc:picChg chg="add del mod">
          <ac:chgData name="Vazzana Giuseppe Pio Alessandro (Open Fiber)" userId="a1b5f71e-fe05-48aa-a5e9-bbbc1a593467" providerId="ADAL" clId="{946C9840-91DE-4850-962B-5B20E1E4D639}" dt="2023-05-16T11:31:05.702" v="20" actId="478"/>
          <ac:picMkLst>
            <pc:docMk/>
            <pc:sldMk cId="248180310" sldId="2147473475"/>
            <ac:picMk id="4" creationId="{7D869354-947D-950D-5BD5-8F296BE11CC1}"/>
          </ac:picMkLst>
        </pc:picChg>
      </pc:sldChg>
      <pc:sldChg chg="addSp delSp modSp mod">
        <pc:chgData name="Vazzana Giuseppe Pio Alessandro (Open Fiber)" userId="a1b5f71e-fe05-48aa-a5e9-bbbc1a593467" providerId="ADAL" clId="{946C9840-91DE-4850-962B-5B20E1E4D639}" dt="2023-05-16T09:22:50.183" v="16" actId="1035"/>
        <pc:sldMkLst>
          <pc:docMk/>
          <pc:sldMk cId="3250832335" sldId="2147473476"/>
        </pc:sldMkLst>
        <pc:picChg chg="add mod">
          <ac:chgData name="Vazzana Giuseppe Pio Alessandro (Open Fiber)" userId="a1b5f71e-fe05-48aa-a5e9-bbbc1a593467" providerId="ADAL" clId="{946C9840-91DE-4850-962B-5B20E1E4D639}" dt="2023-05-16T09:22:50.183" v="16" actId="1035"/>
          <ac:picMkLst>
            <pc:docMk/>
            <pc:sldMk cId="3250832335" sldId="2147473476"/>
            <ac:picMk id="3" creationId="{6E4FB8A0-F4AA-8ED4-E4F7-88352BB23DFD}"/>
          </ac:picMkLst>
        </pc:picChg>
        <pc:picChg chg="del mod">
          <ac:chgData name="Vazzana Giuseppe Pio Alessandro (Open Fiber)" userId="a1b5f71e-fe05-48aa-a5e9-bbbc1a593467" providerId="ADAL" clId="{946C9840-91DE-4850-962B-5B20E1E4D639}" dt="2023-05-16T09:21:33.906" v="5" actId="478"/>
          <ac:picMkLst>
            <pc:docMk/>
            <pc:sldMk cId="3250832335" sldId="2147473476"/>
            <ac:picMk id="4" creationId="{7DC804E6-5CD6-1603-8BC2-FFD13E420629}"/>
          </ac:picMkLst>
        </pc:picChg>
      </pc:sldChg>
    </pc:docChg>
  </pc:docChgLst>
  <pc:docChgLst>
    <pc:chgData name="Vazzana Giuseppe Pio Alessandro (Open Fiber)" userId="a1b5f71e-fe05-48aa-a5e9-bbbc1a593467" providerId="ADAL" clId="{50336D85-0EC6-4F95-8482-3B1BC6B9B70C}"/>
    <pc:docChg chg="custSel addSld delSld modSld">
      <pc:chgData name="Vazzana Giuseppe Pio Alessandro (Open Fiber)" userId="a1b5f71e-fe05-48aa-a5e9-bbbc1a593467" providerId="ADAL" clId="{50336D85-0EC6-4F95-8482-3B1BC6B9B70C}" dt="2023-05-16T08:19:52.697" v="56" actId="1076"/>
      <pc:docMkLst>
        <pc:docMk/>
      </pc:docMkLst>
      <pc:sldChg chg="addSp delSp modSp mod">
        <pc:chgData name="Vazzana Giuseppe Pio Alessandro (Open Fiber)" userId="a1b5f71e-fe05-48aa-a5e9-bbbc1a593467" providerId="ADAL" clId="{50336D85-0EC6-4F95-8482-3B1BC6B9B70C}" dt="2023-05-16T08:12:30.411" v="2" actId="478"/>
        <pc:sldMkLst>
          <pc:docMk/>
          <pc:sldMk cId="3135506543" sldId="797"/>
        </pc:sldMkLst>
        <pc:spChg chg="del">
          <ac:chgData name="Vazzana Giuseppe Pio Alessandro (Open Fiber)" userId="a1b5f71e-fe05-48aa-a5e9-bbbc1a593467" providerId="ADAL" clId="{50336D85-0EC6-4F95-8482-3B1BC6B9B70C}" dt="2023-05-16T08:12:30.411" v="2" actId="478"/>
          <ac:spMkLst>
            <pc:docMk/>
            <pc:sldMk cId="3135506543" sldId="797"/>
            <ac:spMk id="2" creationId="{9FAEA626-37D7-4F65-8D0C-31F10D3B30A8}"/>
          </ac:spMkLst>
        </pc:spChg>
        <pc:spChg chg="add del mod">
          <ac:chgData name="Vazzana Giuseppe Pio Alessandro (Open Fiber)" userId="a1b5f71e-fe05-48aa-a5e9-bbbc1a593467" providerId="ADAL" clId="{50336D85-0EC6-4F95-8482-3B1BC6B9B70C}" dt="2023-05-16T08:12:28.888" v="1" actId="478"/>
          <ac:spMkLst>
            <pc:docMk/>
            <pc:sldMk cId="3135506543" sldId="797"/>
            <ac:spMk id="3" creationId="{75C07446-9B9F-8926-0D9A-929538CAA25B}"/>
          </ac:spMkLst>
        </pc:spChg>
        <pc:spChg chg="del">
          <ac:chgData name="Vazzana Giuseppe Pio Alessandro (Open Fiber)" userId="a1b5f71e-fe05-48aa-a5e9-bbbc1a593467" providerId="ADAL" clId="{50336D85-0EC6-4F95-8482-3B1BC6B9B70C}" dt="2023-05-16T08:12:27.384" v="0" actId="478"/>
          <ac:spMkLst>
            <pc:docMk/>
            <pc:sldMk cId="3135506543" sldId="797"/>
            <ac:spMk id="20" creationId="{DC028A76-EE87-4463-85BD-2DBA34A6B55A}"/>
          </ac:spMkLst>
        </pc:spChg>
      </pc:sldChg>
      <pc:sldChg chg="addSp delSp modSp mod">
        <pc:chgData name="Vazzana Giuseppe Pio Alessandro (Open Fiber)" userId="a1b5f71e-fe05-48aa-a5e9-bbbc1a593467" providerId="ADAL" clId="{50336D85-0EC6-4F95-8482-3B1BC6B9B70C}" dt="2023-05-16T08:13:21.162" v="8" actId="1076"/>
        <pc:sldMkLst>
          <pc:docMk/>
          <pc:sldMk cId="248180310" sldId="2147473475"/>
        </pc:sldMkLst>
        <pc:picChg chg="add mod">
          <ac:chgData name="Vazzana Giuseppe Pio Alessandro (Open Fiber)" userId="a1b5f71e-fe05-48aa-a5e9-bbbc1a593467" providerId="ADAL" clId="{50336D85-0EC6-4F95-8482-3B1BC6B9B70C}" dt="2023-05-16T08:13:21.162" v="8" actId="1076"/>
          <ac:picMkLst>
            <pc:docMk/>
            <pc:sldMk cId="248180310" sldId="2147473475"/>
            <ac:picMk id="3" creationId="{26BBE398-EB6D-3FB4-EDA0-41B5A6535AC1}"/>
          </ac:picMkLst>
        </pc:picChg>
        <pc:picChg chg="del">
          <ac:chgData name="Vazzana Giuseppe Pio Alessandro (Open Fiber)" userId="a1b5f71e-fe05-48aa-a5e9-bbbc1a593467" providerId="ADAL" clId="{50336D85-0EC6-4F95-8482-3B1BC6B9B70C}" dt="2023-05-16T08:12:41.260" v="5" actId="478"/>
          <ac:picMkLst>
            <pc:docMk/>
            <pc:sldMk cId="248180310" sldId="2147473475"/>
            <ac:picMk id="4" creationId="{56986C98-D3D3-F4A4-00A6-4068716D8595}"/>
          </ac:picMkLst>
        </pc:picChg>
      </pc:sldChg>
      <pc:sldChg chg="del">
        <pc:chgData name="Vazzana Giuseppe Pio Alessandro (Open Fiber)" userId="a1b5f71e-fe05-48aa-a5e9-bbbc1a593467" providerId="ADAL" clId="{50336D85-0EC6-4F95-8482-3B1BC6B9B70C}" dt="2023-05-16T08:12:36.314" v="3" actId="2696"/>
        <pc:sldMkLst>
          <pc:docMk/>
          <pc:sldMk cId="2202321649" sldId="2147473476"/>
        </pc:sldMkLst>
      </pc:sldChg>
      <pc:sldChg chg="addSp delSp modSp add mod">
        <pc:chgData name="Vazzana Giuseppe Pio Alessandro (Open Fiber)" userId="a1b5f71e-fe05-48aa-a5e9-bbbc1a593467" providerId="ADAL" clId="{50336D85-0EC6-4F95-8482-3B1BC6B9B70C}" dt="2023-05-16T08:19:52.697" v="56" actId="1076"/>
        <pc:sldMkLst>
          <pc:docMk/>
          <pc:sldMk cId="3250832335" sldId="2147473476"/>
        </pc:sldMkLst>
        <pc:spChg chg="mod">
          <ac:chgData name="Vazzana Giuseppe Pio Alessandro (Open Fiber)" userId="a1b5f71e-fe05-48aa-a5e9-bbbc1a593467" providerId="ADAL" clId="{50336D85-0EC6-4F95-8482-3B1BC6B9B70C}" dt="2023-05-16T08:13:36.637" v="47" actId="20577"/>
          <ac:spMkLst>
            <pc:docMk/>
            <pc:sldMk cId="3250832335" sldId="2147473476"/>
            <ac:spMk id="134" creationId="{9A7DB50D-2465-FD83-4457-1CF66B2ED888}"/>
          </ac:spMkLst>
        </pc:spChg>
        <pc:picChg chg="del">
          <ac:chgData name="Vazzana Giuseppe Pio Alessandro (Open Fiber)" userId="a1b5f71e-fe05-48aa-a5e9-bbbc1a593467" providerId="ADAL" clId="{50336D85-0EC6-4F95-8482-3B1BC6B9B70C}" dt="2023-05-16T08:13:39.217" v="48" actId="478"/>
          <ac:picMkLst>
            <pc:docMk/>
            <pc:sldMk cId="3250832335" sldId="2147473476"/>
            <ac:picMk id="3" creationId="{26BBE398-EB6D-3FB4-EDA0-41B5A6535AC1}"/>
          </ac:picMkLst>
        </pc:picChg>
        <pc:picChg chg="add mod">
          <ac:chgData name="Vazzana Giuseppe Pio Alessandro (Open Fiber)" userId="a1b5f71e-fe05-48aa-a5e9-bbbc1a593467" providerId="ADAL" clId="{50336D85-0EC6-4F95-8482-3B1BC6B9B70C}" dt="2023-05-16T08:19:52.697" v="56" actId="1076"/>
          <ac:picMkLst>
            <pc:docMk/>
            <pc:sldMk cId="3250832335" sldId="2147473476"/>
            <ac:picMk id="4" creationId="{7DC804E6-5CD6-1603-8BC2-FFD13E420629}"/>
          </ac:picMkLst>
        </pc:picChg>
      </pc:sldChg>
      <pc:sldChg chg="del">
        <pc:chgData name="Vazzana Giuseppe Pio Alessandro (Open Fiber)" userId="a1b5f71e-fe05-48aa-a5e9-bbbc1a593467" providerId="ADAL" clId="{50336D85-0EC6-4F95-8482-3B1BC6B9B70C}" dt="2023-05-16T08:12:38.990" v="4" actId="2696"/>
        <pc:sldMkLst>
          <pc:docMk/>
          <pc:sldMk cId="3774363315" sldId="2147473477"/>
        </pc:sldMkLst>
      </pc:sldChg>
    </pc:docChg>
  </pc:docChgLst>
  <pc:docChgLst>
    <pc:chgData name="Vazzana Giuseppe Pio Alessandro (Open Fiber)" userId="a1b5f71e-fe05-48aa-a5e9-bbbc1a593467" providerId="ADAL" clId="{25237BE8-3452-4281-A443-A65D42FBD036}"/>
    <pc:docChg chg="undo custSel addSld delSld modSld">
      <pc:chgData name="Vazzana Giuseppe Pio Alessandro (Open Fiber)" userId="a1b5f71e-fe05-48aa-a5e9-bbbc1a593467" providerId="ADAL" clId="{25237BE8-3452-4281-A443-A65D42FBD036}" dt="2023-04-20T09:42:17.286" v="19" actId="1076"/>
      <pc:docMkLst>
        <pc:docMk/>
      </pc:docMkLst>
      <pc:sldChg chg="addSp delSp modSp add del mod">
        <pc:chgData name="Vazzana Giuseppe Pio Alessandro (Open Fiber)" userId="a1b5f71e-fe05-48aa-a5e9-bbbc1a593467" providerId="ADAL" clId="{25237BE8-3452-4281-A443-A65D42FBD036}" dt="2023-04-20T09:41:46.969" v="14" actId="1076"/>
        <pc:sldMkLst>
          <pc:docMk/>
          <pc:sldMk cId="248180310" sldId="2147473475"/>
        </pc:sldMkLst>
        <pc:picChg chg="del">
          <ac:chgData name="Vazzana Giuseppe Pio Alessandro (Open Fiber)" userId="a1b5f71e-fe05-48aa-a5e9-bbbc1a593467" providerId="ADAL" clId="{25237BE8-3452-4281-A443-A65D42FBD036}" dt="2023-04-20T09:37:59.268" v="3" actId="478"/>
          <ac:picMkLst>
            <pc:docMk/>
            <pc:sldMk cId="248180310" sldId="2147473475"/>
            <ac:picMk id="3" creationId="{BB3233D3-CD3F-E8A2-9848-9958F7F5E439}"/>
          </ac:picMkLst>
        </pc:picChg>
        <pc:picChg chg="add mod">
          <ac:chgData name="Vazzana Giuseppe Pio Alessandro (Open Fiber)" userId="a1b5f71e-fe05-48aa-a5e9-bbbc1a593467" providerId="ADAL" clId="{25237BE8-3452-4281-A443-A65D42FBD036}" dt="2023-04-20T09:41:46.969" v="14" actId="1076"/>
          <ac:picMkLst>
            <pc:docMk/>
            <pc:sldMk cId="248180310" sldId="2147473475"/>
            <ac:picMk id="4" creationId="{56986C98-D3D3-F4A4-00A6-4068716D8595}"/>
          </ac:picMkLst>
        </pc:picChg>
      </pc:sldChg>
      <pc:sldChg chg="addSp delSp modSp mod">
        <pc:chgData name="Vazzana Giuseppe Pio Alessandro (Open Fiber)" userId="a1b5f71e-fe05-48aa-a5e9-bbbc1a593467" providerId="ADAL" clId="{25237BE8-3452-4281-A443-A65D42FBD036}" dt="2023-04-20T09:42:17.286" v="19" actId="1076"/>
        <pc:sldMkLst>
          <pc:docMk/>
          <pc:sldMk cId="2202321649" sldId="2147473476"/>
        </pc:sldMkLst>
        <pc:picChg chg="add del mod">
          <ac:chgData name="Vazzana Giuseppe Pio Alessandro (Open Fiber)" userId="a1b5f71e-fe05-48aa-a5e9-bbbc1a593467" providerId="ADAL" clId="{25237BE8-3452-4281-A443-A65D42FBD036}" dt="2023-04-20T09:41:02.322" v="9" actId="478"/>
          <ac:picMkLst>
            <pc:docMk/>
            <pc:sldMk cId="2202321649" sldId="2147473476"/>
            <ac:picMk id="3" creationId="{A3FBE630-31BF-A1DC-AFFD-68B1DD51B91E}"/>
          </ac:picMkLst>
        </pc:picChg>
        <pc:picChg chg="del">
          <ac:chgData name="Vazzana Giuseppe Pio Alessandro (Open Fiber)" userId="a1b5f71e-fe05-48aa-a5e9-bbbc1a593467" providerId="ADAL" clId="{25237BE8-3452-4281-A443-A65D42FBD036}" dt="2023-04-20T09:37:52.281" v="0" actId="478"/>
          <ac:picMkLst>
            <pc:docMk/>
            <pc:sldMk cId="2202321649" sldId="2147473476"/>
            <ac:picMk id="4" creationId="{BCBEB3C1-DD3F-8C0B-FFE1-E9B5DF3A30A5}"/>
          </ac:picMkLst>
        </pc:picChg>
        <pc:picChg chg="add mod">
          <ac:chgData name="Vazzana Giuseppe Pio Alessandro (Open Fiber)" userId="a1b5f71e-fe05-48aa-a5e9-bbbc1a593467" providerId="ADAL" clId="{25237BE8-3452-4281-A443-A65D42FBD036}" dt="2023-04-20T09:42:17.286" v="19" actId="1076"/>
          <ac:picMkLst>
            <pc:docMk/>
            <pc:sldMk cId="2202321649" sldId="2147473476"/>
            <ac:picMk id="6" creationId="{57157194-ECD3-7982-F451-3877682E2FA8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986EF8-4A6F-40CF-8568-17437A885668}" type="datetimeFigureOut">
              <a:rPr lang="it-IT" smtClean="0"/>
              <a:t>16/05/2023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7F5F01-0977-4398-98AB-97202D3406BE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092925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57F6A4-F136-4832-913D-CC2A5B0B35FD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25374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57F6A4-F136-4832-913D-CC2A5B0B35FD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54097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57F6A4-F136-4832-913D-CC2A5B0B35FD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01968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3.xml"/><Relationship Id="rId7" Type="http://schemas.openxmlformats.org/officeDocument/2006/relationships/oleObject" Target="../embeddings/oleObject2.bin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5.png"/><Relationship Id="rId5" Type="http://schemas.openxmlformats.org/officeDocument/2006/relationships/tags" Target="../tags/tag25.xml"/><Relationship Id="rId10" Type="http://schemas.openxmlformats.org/officeDocument/2006/relationships/image" Target="../media/image4.jpeg"/><Relationship Id="rId4" Type="http://schemas.openxmlformats.org/officeDocument/2006/relationships/tags" Target="../tags/tag24.xml"/><Relationship Id="rId9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86.xml"/><Relationship Id="rId3" Type="http://schemas.openxmlformats.org/officeDocument/2006/relationships/tags" Target="../tags/tag81.xml"/><Relationship Id="rId7" Type="http://schemas.openxmlformats.org/officeDocument/2006/relationships/tags" Target="../tags/tag85.xml"/><Relationship Id="rId12" Type="http://schemas.openxmlformats.org/officeDocument/2006/relationships/image" Target="../media/image7.jpeg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11" Type="http://schemas.openxmlformats.org/officeDocument/2006/relationships/image" Target="../media/image1.emf"/><Relationship Id="rId5" Type="http://schemas.openxmlformats.org/officeDocument/2006/relationships/tags" Target="../tags/tag83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82.xml"/><Relationship Id="rId9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3" Type="http://schemas.openxmlformats.org/officeDocument/2006/relationships/tags" Target="../tags/tag89.xml"/><Relationship Id="rId7" Type="http://schemas.openxmlformats.org/officeDocument/2006/relationships/tags" Target="../tags/tag93.xml"/><Relationship Id="rId12" Type="http://schemas.openxmlformats.org/officeDocument/2006/relationships/image" Target="../media/image7.jpeg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tags" Target="../tags/tag92.xml"/><Relationship Id="rId11" Type="http://schemas.openxmlformats.org/officeDocument/2006/relationships/image" Target="../media/image8.emf"/><Relationship Id="rId5" Type="http://schemas.openxmlformats.org/officeDocument/2006/relationships/tags" Target="../tags/tag91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90.xml"/><Relationship Id="rId9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image" Target="../media/image7.jpeg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image" Target="../media/image1.emf"/><Relationship Id="rId5" Type="http://schemas.openxmlformats.org/officeDocument/2006/relationships/tags" Target="../tags/tag99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98.xml"/><Relationship Id="rId9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3" Type="http://schemas.openxmlformats.org/officeDocument/2006/relationships/tags" Target="../tags/tag105.xml"/><Relationship Id="rId7" Type="http://schemas.openxmlformats.org/officeDocument/2006/relationships/tags" Target="../tags/tag109.xml"/><Relationship Id="rId12" Type="http://schemas.openxmlformats.org/officeDocument/2006/relationships/image" Target="../media/image7.jpeg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11" Type="http://schemas.openxmlformats.org/officeDocument/2006/relationships/image" Target="../media/image1.emf"/><Relationship Id="rId5" Type="http://schemas.openxmlformats.org/officeDocument/2006/relationships/tags" Target="../tags/tag107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106.xml"/><Relationship Id="rId9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18.xml"/><Relationship Id="rId3" Type="http://schemas.openxmlformats.org/officeDocument/2006/relationships/tags" Target="../tags/tag113.xml"/><Relationship Id="rId7" Type="http://schemas.openxmlformats.org/officeDocument/2006/relationships/tags" Target="../tags/tag117.xml"/><Relationship Id="rId12" Type="http://schemas.openxmlformats.org/officeDocument/2006/relationships/image" Target="../media/image7.jpeg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tags" Target="../tags/tag116.xml"/><Relationship Id="rId11" Type="http://schemas.openxmlformats.org/officeDocument/2006/relationships/image" Target="../media/image1.emf"/><Relationship Id="rId5" Type="http://schemas.openxmlformats.org/officeDocument/2006/relationships/tags" Target="../tags/tag115.xml"/><Relationship Id="rId10" Type="http://schemas.openxmlformats.org/officeDocument/2006/relationships/oleObject" Target="../embeddings/oleObject15.bin"/><Relationship Id="rId4" Type="http://schemas.openxmlformats.org/officeDocument/2006/relationships/tags" Target="../tags/tag114.xml"/><Relationship Id="rId9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26.xml"/><Relationship Id="rId3" Type="http://schemas.openxmlformats.org/officeDocument/2006/relationships/tags" Target="../tags/tag121.xml"/><Relationship Id="rId7" Type="http://schemas.openxmlformats.org/officeDocument/2006/relationships/tags" Target="../tags/tag125.xml"/><Relationship Id="rId12" Type="http://schemas.openxmlformats.org/officeDocument/2006/relationships/image" Target="../media/image7.jpeg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tags" Target="../tags/tag124.xml"/><Relationship Id="rId11" Type="http://schemas.openxmlformats.org/officeDocument/2006/relationships/image" Target="../media/image1.emf"/><Relationship Id="rId5" Type="http://schemas.openxmlformats.org/officeDocument/2006/relationships/tags" Target="../tags/tag123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122.xml"/><Relationship Id="rId9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3" Type="http://schemas.openxmlformats.org/officeDocument/2006/relationships/tags" Target="../tags/tag129.xml"/><Relationship Id="rId7" Type="http://schemas.openxmlformats.org/officeDocument/2006/relationships/tags" Target="../tags/tag133.xml"/><Relationship Id="rId12" Type="http://schemas.openxmlformats.org/officeDocument/2006/relationships/image" Target="../media/image7.jpeg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11" Type="http://schemas.openxmlformats.org/officeDocument/2006/relationships/image" Target="../media/image1.emf"/><Relationship Id="rId5" Type="http://schemas.openxmlformats.org/officeDocument/2006/relationships/tags" Target="../tags/tag131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130.xml"/><Relationship Id="rId9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42.xml"/><Relationship Id="rId3" Type="http://schemas.openxmlformats.org/officeDocument/2006/relationships/tags" Target="../tags/tag137.xml"/><Relationship Id="rId7" Type="http://schemas.openxmlformats.org/officeDocument/2006/relationships/tags" Target="../tags/tag141.xml"/><Relationship Id="rId12" Type="http://schemas.openxmlformats.org/officeDocument/2006/relationships/image" Target="../media/image7.jpeg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6" Type="http://schemas.openxmlformats.org/officeDocument/2006/relationships/tags" Target="../tags/tag140.xml"/><Relationship Id="rId11" Type="http://schemas.openxmlformats.org/officeDocument/2006/relationships/image" Target="../media/image8.emf"/><Relationship Id="rId5" Type="http://schemas.openxmlformats.org/officeDocument/2006/relationships/tags" Target="../tags/tag139.xml"/><Relationship Id="rId10" Type="http://schemas.openxmlformats.org/officeDocument/2006/relationships/oleObject" Target="../embeddings/oleObject18.bin"/><Relationship Id="rId4" Type="http://schemas.openxmlformats.org/officeDocument/2006/relationships/tags" Target="../tags/tag138.xml"/><Relationship Id="rId9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50.xml"/><Relationship Id="rId3" Type="http://schemas.openxmlformats.org/officeDocument/2006/relationships/tags" Target="../tags/tag145.xml"/><Relationship Id="rId7" Type="http://schemas.openxmlformats.org/officeDocument/2006/relationships/tags" Target="../tags/tag149.xml"/><Relationship Id="rId12" Type="http://schemas.openxmlformats.org/officeDocument/2006/relationships/image" Target="../media/image7.jpeg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tags" Target="../tags/tag148.xml"/><Relationship Id="rId11" Type="http://schemas.openxmlformats.org/officeDocument/2006/relationships/image" Target="../media/image1.emf"/><Relationship Id="rId5" Type="http://schemas.openxmlformats.org/officeDocument/2006/relationships/tags" Target="../tags/tag147.xml"/><Relationship Id="rId10" Type="http://schemas.openxmlformats.org/officeDocument/2006/relationships/oleObject" Target="../embeddings/oleObject19.bin"/><Relationship Id="rId4" Type="http://schemas.openxmlformats.org/officeDocument/2006/relationships/tags" Target="../tags/tag146.xml"/><Relationship Id="rId9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15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52.xml"/><Relationship Id="rId1" Type="http://schemas.openxmlformats.org/officeDocument/2006/relationships/tags" Target="../tags/tag151.xml"/><Relationship Id="rId6" Type="http://schemas.openxmlformats.org/officeDocument/2006/relationships/tags" Target="../tags/tag156.xml"/><Relationship Id="rId5" Type="http://schemas.openxmlformats.org/officeDocument/2006/relationships/tags" Target="../tags/tag155.xml"/><Relationship Id="rId10" Type="http://schemas.openxmlformats.org/officeDocument/2006/relationships/image" Target="../media/image7.jpeg"/><Relationship Id="rId4" Type="http://schemas.openxmlformats.org/officeDocument/2006/relationships/tags" Target="../tags/tag154.xml"/><Relationship Id="rId9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8.xml"/><Relationship Id="rId7" Type="http://schemas.openxmlformats.org/officeDocument/2006/relationships/oleObject" Target="../embeddings/oleObject3.bin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6.png"/><Relationship Id="rId5" Type="http://schemas.openxmlformats.org/officeDocument/2006/relationships/tags" Target="../tags/tag30.xml"/><Relationship Id="rId10" Type="http://schemas.openxmlformats.org/officeDocument/2006/relationships/image" Target="../media/image4.jpeg"/><Relationship Id="rId4" Type="http://schemas.openxmlformats.org/officeDocument/2006/relationships/tags" Target="../tags/tag29.xml"/><Relationship Id="rId9" Type="http://schemas.openxmlformats.org/officeDocument/2006/relationships/image" Target="../media/image3.jpeg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59.xml"/><Relationship Id="rId7" Type="http://schemas.openxmlformats.org/officeDocument/2006/relationships/image" Target="../media/image2.emf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oleObject" Target="../embeddings/oleObject2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0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3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11" Type="http://schemas.openxmlformats.org/officeDocument/2006/relationships/image" Target="../media/image7.jpeg"/><Relationship Id="rId5" Type="http://schemas.openxmlformats.org/officeDocument/2006/relationships/tags" Target="../tags/tag35.xml"/><Relationship Id="rId10" Type="http://schemas.openxmlformats.org/officeDocument/2006/relationships/image" Target="../media/image1.emf"/><Relationship Id="rId4" Type="http://schemas.openxmlformats.org/officeDocument/2006/relationships/tags" Target="../tags/tag34.xml"/><Relationship Id="rId9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10" Type="http://schemas.openxmlformats.org/officeDocument/2006/relationships/image" Target="../media/image7.jpeg"/><Relationship Id="rId4" Type="http://schemas.openxmlformats.org/officeDocument/2006/relationships/tags" Target="../tags/tag41.xml"/><Relationship Id="rId9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4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5" Type="http://schemas.openxmlformats.org/officeDocument/2006/relationships/tags" Target="../tags/tag48.xml"/><Relationship Id="rId10" Type="http://schemas.openxmlformats.org/officeDocument/2006/relationships/image" Target="../media/image7.jpeg"/><Relationship Id="rId4" Type="http://schemas.openxmlformats.org/officeDocument/2006/relationships/tags" Target="../tags/tag47.xml"/><Relationship Id="rId9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5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tags" Target="../tags/tag55.xml"/><Relationship Id="rId5" Type="http://schemas.openxmlformats.org/officeDocument/2006/relationships/tags" Target="../tags/tag54.xml"/><Relationship Id="rId10" Type="http://schemas.openxmlformats.org/officeDocument/2006/relationships/image" Target="../media/image7.jpeg"/><Relationship Id="rId4" Type="http://schemas.openxmlformats.org/officeDocument/2006/relationships/tags" Target="../tags/tag53.xml"/><Relationship Id="rId9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11" Type="http://schemas.openxmlformats.org/officeDocument/2006/relationships/image" Target="../media/image7.jpeg"/><Relationship Id="rId5" Type="http://schemas.openxmlformats.org/officeDocument/2006/relationships/tags" Target="../tags/tag60.xml"/><Relationship Id="rId10" Type="http://schemas.openxmlformats.org/officeDocument/2006/relationships/image" Target="../media/image2.emf"/><Relationship Id="rId4" Type="http://schemas.openxmlformats.org/officeDocument/2006/relationships/tags" Target="../tags/tag59.xml"/><Relationship Id="rId9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3" Type="http://schemas.openxmlformats.org/officeDocument/2006/relationships/tags" Target="../tags/tag65.xml"/><Relationship Id="rId7" Type="http://schemas.openxmlformats.org/officeDocument/2006/relationships/tags" Target="../tags/tag69.xml"/><Relationship Id="rId12" Type="http://schemas.openxmlformats.org/officeDocument/2006/relationships/image" Target="../media/image7.jpe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11" Type="http://schemas.openxmlformats.org/officeDocument/2006/relationships/image" Target="../media/image1.emf"/><Relationship Id="rId5" Type="http://schemas.openxmlformats.org/officeDocument/2006/relationships/tags" Target="../tags/tag67.xml"/><Relationship Id="rId10" Type="http://schemas.openxmlformats.org/officeDocument/2006/relationships/oleObject" Target="../embeddings/oleObject9.bin"/><Relationship Id="rId4" Type="http://schemas.openxmlformats.org/officeDocument/2006/relationships/tags" Target="../tags/tag66.xml"/><Relationship Id="rId9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78.xml"/><Relationship Id="rId3" Type="http://schemas.openxmlformats.org/officeDocument/2006/relationships/tags" Target="../tags/tag73.xml"/><Relationship Id="rId7" Type="http://schemas.openxmlformats.org/officeDocument/2006/relationships/tags" Target="../tags/tag77.xml"/><Relationship Id="rId12" Type="http://schemas.openxmlformats.org/officeDocument/2006/relationships/image" Target="../media/image7.jpeg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tags" Target="../tags/tag76.xml"/><Relationship Id="rId11" Type="http://schemas.openxmlformats.org/officeDocument/2006/relationships/image" Target="../media/image1.emf"/><Relationship Id="rId5" Type="http://schemas.openxmlformats.org/officeDocument/2006/relationships/tags" Target="../tags/tag75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74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4884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9D0A04A6-E518-46D2-89AF-A56A3AC02CD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21366"/>
            <a:ext cx="12192001" cy="6836634"/>
          </a:xfrm>
          <a:prstGeom prst="rect">
            <a:avLst/>
          </a:prstGeom>
        </p:spPr>
      </p:pic>
      <p:pic>
        <p:nvPicPr>
          <p:cNvPr id="9" name="Immagine 6">
            <a:extLst>
              <a:ext uri="{FF2B5EF4-FFF2-40B4-BE49-F238E27FC236}">
                <a16:creationId xmlns:a16="http://schemas.microsoft.com/office/drawing/2014/main" id="{3072B5BA-68FA-4B05-8C63-7C54D333AF3C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4414" y="5633678"/>
            <a:ext cx="1755861" cy="4032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it-IT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50585" y="5024639"/>
            <a:ext cx="5018983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1400" dirty="0"/>
            </a:lvl1pPr>
          </a:lstStyle>
          <a:p>
            <a:pPr lvl="0" algn="ctr"/>
            <a:r>
              <a:rPr lang="it-IT" err="1"/>
              <a:t>Edit</a:t>
            </a:r>
            <a:r>
              <a:rPr lang="it-IT"/>
              <a:t> date or </a:t>
            </a:r>
            <a:r>
              <a:rPr lang="it-IT" err="1"/>
              <a:t>title</a:t>
            </a:r>
            <a:r>
              <a:rPr lang="it-IT"/>
              <a:t>/</a:t>
            </a:r>
            <a:r>
              <a:rPr lang="it-IT" err="1"/>
              <a:t>role</a:t>
            </a:r>
            <a:endParaRPr lang="it-IT"/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751727" y="4621255"/>
            <a:ext cx="5018983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2000" dirty="0"/>
            </a:lvl1pPr>
          </a:lstStyle>
          <a:p>
            <a:pPr lvl="0" algn="ctr"/>
            <a:r>
              <a:rPr lang="it-IT"/>
              <a:t>Click to </a:t>
            </a:r>
            <a:r>
              <a:rPr lang="it-IT" err="1"/>
              <a:t>edit</a:t>
            </a:r>
            <a:r>
              <a:rPr lang="it-IT"/>
              <a:t> Master </a:t>
            </a:r>
            <a:r>
              <a:rPr lang="it-IT" err="1"/>
              <a:t>subtitle</a:t>
            </a:r>
            <a:r>
              <a:rPr lang="it-IT"/>
              <a:t>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751727" y="3145994"/>
            <a:ext cx="5018983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rmAutofit/>
          </a:bodyPr>
          <a:lstStyle>
            <a:lvl1pPr rtl="0">
              <a:defRPr lang="en-US" sz="4000" dirty="0"/>
            </a:lvl1pPr>
          </a:lstStyle>
          <a:p>
            <a:pPr lvl="0" algn="ctr"/>
            <a:r>
              <a:rPr lang="it-IT"/>
              <a:t>Click to </a:t>
            </a:r>
            <a:r>
              <a:rPr lang="it-IT" err="1"/>
              <a:t>edit</a:t>
            </a:r>
            <a:r>
              <a:rPr lang="it-IT"/>
              <a:t> Master </a:t>
            </a:r>
            <a:r>
              <a:rPr lang="it-IT" err="1"/>
              <a:t>title</a:t>
            </a:r>
            <a:r>
              <a:rPr lang="it-IT"/>
              <a:t>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A7A01C0-7FD6-4EAB-BDE8-0F077E9292CD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4904718" y="15062"/>
            <a:ext cx="7849265" cy="5232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0353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8397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it-IT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1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it-IT" sz="16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3"/>
            <a:ext cx="5065776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</a:t>
            </a:r>
            <a:r>
              <a:rPr lang="it-IT" err="1"/>
              <a:t>edit</a:t>
            </a:r>
            <a:r>
              <a:rPr lang="it-IT"/>
              <a:t> Master </a:t>
            </a:r>
            <a:r>
              <a:rPr lang="it-IT" err="1"/>
              <a:t>title</a:t>
            </a:r>
            <a:r>
              <a:rPr lang="it-IT"/>
              <a:t>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1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it-IT"/>
              <a:t>Click to </a:t>
            </a:r>
            <a:r>
              <a:rPr lang="it-IT" err="1"/>
              <a:t>edit</a:t>
            </a:r>
            <a:r>
              <a:rPr lang="it-IT"/>
              <a:t> Master </a:t>
            </a:r>
            <a:r>
              <a:rPr lang="it-IT" err="1"/>
              <a:t>subtitle</a:t>
            </a:r>
            <a:r>
              <a:rPr lang="it-IT"/>
              <a:t>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it-IT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4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it-IT" err="1"/>
              <a:t>Add</a:t>
            </a:r>
            <a:r>
              <a:rPr lang="it-IT"/>
              <a:t> tracker</a:t>
            </a:r>
          </a:p>
        </p:txBody>
      </p:sp>
      <p:pic>
        <p:nvPicPr>
          <p:cNvPr id="11" name="Immagine 6">
            <a:extLst>
              <a:ext uri="{FF2B5EF4-FFF2-40B4-BE49-F238E27FC236}">
                <a16:creationId xmlns:a16="http://schemas.microsoft.com/office/drawing/2014/main" id="{A799A991-07BB-454E-B76C-D2C06D0CED97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8847" y="6156584"/>
            <a:ext cx="693154" cy="684341"/>
          </a:xfrm>
          <a:prstGeom prst="rect">
            <a:avLst/>
          </a:prstGeom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C1123737-328B-4E01-A026-B7C627025A6C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682673" y="642669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1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it-IT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1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›</a:t>
            </a:fld>
            <a:endParaRPr lang="it-IT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64986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7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it-IT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3"/>
            <a:ext cx="6967728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</a:t>
            </a:r>
            <a:r>
              <a:rPr lang="it-IT" err="1"/>
              <a:t>edit</a:t>
            </a:r>
            <a:r>
              <a:rPr lang="it-IT"/>
              <a:t> Master </a:t>
            </a:r>
            <a:r>
              <a:rPr lang="it-IT" err="1"/>
              <a:t>title</a:t>
            </a:r>
            <a:r>
              <a:rPr lang="it-IT"/>
              <a:t>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3" y="1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it-IT" sz="16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1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it-IT"/>
              <a:t>Click to </a:t>
            </a:r>
            <a:r>
              <a:rPr lang="it-IT" err="1"/>
              <a:t>edit</a:t>
            </a:r>
            <a:r>
              <a:rPr lang="it-IT"/>
              <a:t> Master </a:t>
            </a:r>
            <a:r>
              <a:rPr lang="it-IT" err="1"/>
              <a:t>subtitle</a:t>
            </a:r>
            <a:r>
              <a:rPr lang="it-IT"/>
              <a:t>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70"/>
            <a:ext cx="6967729" cy="12561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it-IT" sz="80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4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it-IT" err="1"/>
              <a:t>Add</a:t>
            </a:r>
            <a:r>
              <a:rPr lang="it-IT"/>
              <a:t> tracker</a:t>
            </a:r>
          </a:p>
        </p:txBody>
      </p:sp>
      <p:pic>
        <p:nvPicPr>
          <p:cNvPr id="11" name="Immagine 6">
            <a:extLst>
              <a:ext uri="{FF2B5EF4-FFF2-40B4-BE49-F238E27FC236}">
                <a16:creationId xmlns:a16="http://schemas.microsoft.com/office/drawing/2014/main" id="{F460B440-46D0-4A98-B74B-6A776717FB22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8847" y="6156584"/>
            <a:ext cx="693154" cy="684341"/>
          </a:xfrm>
          <a:prstGeom prst="rect">
            <a:avLst/>
          </a:prstGeom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B453B4FE-D69C-41C3-8C83-D03B63BE638E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682673" y="642669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1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it-IT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1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›</a:t>
            </a:fld>
            <a:endParaRPr lang="it-IT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69701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288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it-IT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1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172213"/>
            <a:ext cx="7918704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</a:t>
            </a:r>
            <a:r>
              <a:rPr lang="it-IT" err="1"/>
              <a:t>edit</a:t>
            </a:r>
            <a:r>
              <a:rPr lang="it-IT"/>
              <a:t> Master </a:t>
            </a:r>
            <a:r>
              <a:rPr lang="it-IT" err="1"/>
              <a:t>title</a:t>
            </a:r>
            <a:r>
              <a:rPr lang="it-IT"/>
              <a:t>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7" y="919251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u="none" baseline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it-IT"/>
              <a:t>Click to </a:t>
            </a:r>
            <a:r>
              <a:rPr lang="it-IT" err="1"/>
              <a:t>edit</a:t>
            </a:r>
            <a:r>
              <a:rPr lang="it-IT"/>
              <a:t> Master </a:t>
            </a:r>
            <a:r>
              <a:rPr lang="it-IT" err="1"/>
              <a:t>subtitle</a:t>
            </a:r>
            <a:r>
              <a:rPr lang="it-IT"/>
              <a:t>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39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4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it-IT" err="1"/>
              <a:t>Add</a:t>
            </a:r>
            <a:r>
              <a:rPr lang="it-IT"/>
              <a:t> tracker</a:t>
            </a:r>
          </a:p>
        </p:txBody>
      </p:sp>
      <p:pic>
        <p:nvPicPr>
          <p:cNvPr id="11" name="Immagine 6">
            <a:extLst>
              <a:ext uri="{FF2B5EF4-FFF2-40B4-BE49-F238E27FC236}">
                <a16:creationId xmlns:a16="http://schemas.microsoft.com/office/drawing/2014/main" id="{9378C056-35BE-49AB-B2BA-E0F2D589D0B5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8847" y="6156584"/>
            <a:ext cx="693154" cy="684341"/>
          </a:xfrm>
          <a:prstGeom prst="rect">
            <a:avLst/>
          </a:prstGeom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FCD42130-059F-4C45-8A5F-5E9BC7B1D4B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682673" y="642669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1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it-IT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1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›</a:t>
            </a:fld>
            <a:endParaRPr lang="it-IT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89896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5738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it-IT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1" y="1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775056" y="172213"/>
            <a:ext cx="7918704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</a:t>
            </a:r>
            <a:r>
              <a:rPr lang="it-IT" err="1"/>
              <a:t>edit</a:t>
            </a:r>
            <a:r>
              <a:rPr lang="it-IT"/>
              <a:t> Master </a:t>
            </a:r>
            <a:r>
              <a:rPr lang="it-IT" err="1"/>
              <a:t>title</a:t>
            </a:r>
            <a:r>
              <a:rPr lang="it-IT"/>
              <a:t>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3775056" y="919251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u="none" baseline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it-IT"/>
              <a:t>Click to </a:t>
            </a:r>
            <a:r>
              <a:rPr lang="it-IT" err="1"/>
              <a:t>edit</a:t>
            </a:r>
            <a:r>
              <a:rPr lang="it-IT"/>
              <a:t> Master </a:t>
            </a:r>
            <a:r>
              <a:rPr lang="it-IT" err="1"/>
              <a:t>subtitle</a:t>
            </a:r>
            <a:r>
              <a:rPr lang="it-IT"/>
              <a:t>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39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77505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it-IT" err="1"/>
              <a:t>Add</a:t>
            </a:r>
            <a:r>
              <a:rPr lang="it-IT"/>
              <a:t> tracker</a:t>
            </a:r>
          </a:p>
        </p:txBody>
      </p:sp>
      <p:pic>
        <p:nvPicPr>
          <p:cNvPr id="11" name="Immagine 6">
            <a:extLst>
              <a:ext uri="{FF2B5EF4-FFF2-40B4-BE49-F238E27FC236}">
                <a16:creationId xmlns:a16="http://schemas.microsoft.com/office/drawing/2014/main" id="{9378C056-35BE-49AB-B2BA-E0F2D589D0B5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8847" y="6156584"/>
            <a:ext cx="693154" cy="684341"/>
          </a:xfrm>
          <a:prstGeom prst="rect">
            <a:avLst/>
          </a:prstGeom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FCD42130-059F-4C45-8A5F-5E9BC7B1D4B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682673" y="642669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1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it-IT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1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›</a:t>
            </a:fld>
            <a:endParaRPr lang="it-IT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75467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9714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it-IT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1" y="1"/>
            <a:ext cx="8778240" cy="6858000"/>
          </a:xfrm>
          <a:prstGeom prst="rect">
            <a:avLst/>
          </a:prstGeom>
          <a:solidFill>
            <a:srgbClr val="FBE1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it-IT" sz="16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70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it-IT"/>
              <a:t>Click to </a:t>
            </a:r>
            <a:r>
              <a:rPr lang="it-IT" err="1"/>
              <a:t>edit</a:t>
            </a:r>
            <a:r>
              <a:rPr lang="it-IT"/>
              <a:t> Master </a:t>
            </a:r>
            <a:r>
              <a:rPr lang="it-IT" err="1"/>
              <a:t>title</a:t>
            </a:r>
            <a:r>
              <a:rPr lang="it-IT"/>
              <a:t>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it-IT"/>
              <a:t>Click to </a:t>
            </a:r>
            <a:r>
              <a:rPr lang="it-IT" err="1"/>
              <a:t>edit</a:t>
            </a:r>
            <a:r>
              <a:rPr lang="it-IT"/>
              <a:t> Master </a:t>
            </a:r>
            <a:r>
              <a:rPr lang="it-IT" err="1"/>
              <a:t>subtitle</a:t>
            </a:r>
            <a:r>
              <a:rPr lang="it-IT"/>
              <a:t>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it-IT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6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it-IT" err="1"/>
              <a:t>Add</a:t>
            </a:r>
            <a:r>
              <a:rPr lang="it-IT"/>
              <a:t> tracker</a:t>
            </a:r>
          </a:p>
        </p:txBody>
      </p:sp>
      <p:pic>
        <p:nvPicPr>
          <p:cNvPr id="11" name="Immagine 6">
            <a:extLst>
              <a:ext uri="{FF2B5EF4-FFF2-40B4-BE49-F238E27FC236}">
                <a16:creationId xmlns:a16="http://schemas.microsoft.com/office/drawing/2014/main" id="{D61C1688-2AB0-4267-B3D4-1012D38CC062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8847" y="6156584"/>
            <a:ext cx="693154" cy="684341"/>
          </a:xfrm>
          <a:prstGeom prst="rect">
            <a:avLst/>
          </a:prstGeom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3AB43B47-1358-45D1-ABF9-B35A5771AEE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682673" y="642669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1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it-IT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1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›</a:t>
            </a:fld>
            <a:endParaRPr lang="it-IT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14006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4164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it-IT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1"/>
            <a:ext cx="7827264" cy="6858000"/>
          </a:xfrm>
          <a:prstGeom prst="rect">
            <a:avLst/>
          </a:prstGeom>
          <a:solidFill>
            <a:srgbClr val="FBE1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it-IT" sz="16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2744370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it-IT"/>
              <a:t>Click to </a:t>
            </a:r>
            <a:r>
              <a:rPr lang="it-IT" err="1"/>
              <a:t>edit</a:t>
            </a:r>
            <a:r>
              <a:rPr lang="it-IT"/>
              <a:t> Master </a:t>
            </a:r>
            <a:r>
              <a:rPr lang="it-IT" err="1"/>
              <a:t>title</a:t>
            </a:r>
            <a:r>
              <a:rPr lang="it-IT"/>
              <a:t>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5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it-IT"/>
              <a:t>Click to </a:t>
            </a:r>
            <a:r>
              <a:rPr lang="it-IT" err="1"/>
              <a:t>edit</a:t>
            </a:r>
            <a:r>
              <a:rPr lang="it-IT"/>
              <a:t> Master </a:t>
            </a:r>
            <a:r>
              <a:rPr lang="it-IT" err="1"/>
              <a:t>subtitle</a:t>
            </a:r>
            <a:r>
              <a:rPr lang="it-IT"/>
              <a:t>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it-IT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it-IT" err="1"/>
              <a:t>Add</a:t>
            </a:r>
            <a:r>
              <a:rPr lang="it-IT"/>
              <a:t> tracker</a:t>
            </a:r>
          </a:p>
        </p:txBody>
      </p:sp>
      <p:pic>
        <p:nvPicPr>
          <p:cNvPr id="11" name="Immagine 6">
            <a:extLst>
              <a:ext uri="{FF2B5EF4-FFF2-40B4-BE49-F238E27FC236}">
                <a16:creationId xmlns:a16="http://schemas.microsoft.com/office/drawing/2014/main" id="{74A7C67B-A5A2-434D-9D44-FDC7F73814B7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8847" y="6156584"/>
            <a:ext cx="693154" cy="684341"/>
          </a:xfrm>
          <a:prstGeom prst="rect">
            <a:avLst/>
          </a:prstGeom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E224BA0F-9173-452B-80DD-E7A5731534FC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682673" y="642669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1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it-IT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1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›</a:t>
            </a:fld>
            <a:endParaRPr lang="it-IT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796403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2848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it-IT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1"/>
            <a:ext cx="6099048" cy="6858000"/>
          </a:xfrm>
          <a:prstGeom prst="rect">
            <a:avLst/>
          </a:prstGeom>
          <a:solidFill>
            <a:srgbClr val="FBE1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it-IT" sz="16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3"/>
            <a:ext cx="5065776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</a:t>
            </a:r>
            <a:r>
              <a:rPr lang="it-IT" err="1"/>
              <a:t>edit</a:t>
            </a:r>
            <a:r>
              <a:rPr lang="it-IT"/>
              <a:t> Master </a:t>
            </a:r>
            <a:r>
              <a:rPr lang="it-IT" err="1"/>
              <a:t>title</a:t>
            </a:r>
            <a:r>
              <a:rPr lang="it-IT"/>
              <a:t>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1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it-IT"/>
              <a:t>Click to </a:t>
            </a:r>
            <a:r>
              <a:rPr lang="it-IT" err="1"/>
              <a:t>edit</a:t>
            </a:r>
            <a:r>
              <a:rPr lang="it-IT"/>
              <a:t> Master </a:t>
            </a:r>
            <a:r>
              <a:rPr lang="it-IT" err="1"/>
              <a:t>subtitle</a:t>
            </a:r>
            <a:r>
              <a:rPr lang="it-IT"/>
              <a:t>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it-IT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4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it-IT" err="1"/>
              <a:t>Add</a:t>
            </a:r>
            <a:r>
              <a:rPr lang="it-IT"/>
              <a:t> tracker</a:t>
            </a:r>
          </a:p>
        </p:txBody>
      </p:sp>
      <p:pic>
        <p:nvPicPr>
          <p:cNvPr id="11" name="Immagine 6">
            <a:extLst>
              <a:ext uri="{FF2B5EF4-FFF2-40B4-BE49-F238E27FC236}">
                <a16:creationId xmlns:a16="http://schemas.microsoft.com/office/drawing/2014/main" id="{A799A991-07BB-454E-B76C-D2C06D0CED97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8847" y="6156584"/>
            <a:ext cx="693154" cy="684341"/>
          </a:xfrm>
          <a:prstGeom prst="rect">
            <a:avLst/>
          </a:prstGeom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C1123737-328B-4E01-A026-B7C627025A6C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682673" y="642669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1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it-IT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1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›</a:t>
            </a:fld>
            <a:endParaRPr lang="it-IT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273400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1237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it-IT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3"/>
            <a:ext cx="6967728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</a:t>
            </a:r>
            <a:r>
              <a:rPr lang="it-IT" err="1"/>
              <a:t>edit</a:t>
            </a:r>
            <a:r>
              <a:rPr lang="it-IT"/>
              <a:t> Master </a:t>
            </a:r>
            <a:r>
              <a:rPr lang="it-IT" err="1"/>
              <a:t>title</a:t>
            </a:r>
            <a:r>
              <a:rPr lang="it-IT"/>
              <a:t>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3" y="1"/>
            <a:ext cx="4361688" cy="6858000"/>
          </a:xfrm>
          <a:prstGeom prst="rect">
            <a:avLst/>
          </a:prstGeom>
          <a:solidFill>
            <a:srgbClr val="FBE1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it-IT" sz="16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1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it-IT"/>
              <a:t>Click to </a:t>
            </a:r>
            <a:r>
              <a:rPr lang="it-IT" err="1"/>
              <a:t>edit</a:t>
            </a:r>
            <a:r>
              <a:rPr lang="it-IT"/>
              <a:t> Master </a:t>
            </a:r>
            <a:r>
              <a:rPr lang="it-IT" err="1"/>
              <a:t>subtitle</a:t>
            </a:r>
            <a:r>
              <a:rPr lang="it-IT"/>
              <a:t>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70"/>
            <a:ext cx="6967729" cy="12561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it-IT" sz="80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4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it-IT" err="1"/>
              <a:t>Add</a:t>
            </a:r>
            <a:r>
              <a:rPr lang="it-IT"/>
              <a:t> tracker</a:t>
            </a:r>
          </a:p>
        </p:txBody>
      </p:sp>
      <p:pic>
        <p:nvPicPr>
          <p:cNvPr id="11" name="Immagine 6">
            <a:extLst>
              <a:ext uri="{FF2B5EF4-FFF2-40B4-BE49-F238E27FC236}">
                <a16:creationId xmlns:a16="http://schemas.microsoft.com/office/drawing/2014/main" id="{F460B440-46D0-4A98-B74B-6A776717FB22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8847" y="6156584"/>
            <a:ext cx="693154" cy="684341"/>
          </a:xfrm>
          <a:prstGeom prst="rect">
            <a:avLst/>
          </a:prstGeom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B453B4FE-D69C-41C3-8C83-D03B63BE638E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682673" y="642669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1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it-IT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1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›</a:t>
            </a:fld>
            <a:endParaRPr lang="it-IT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04518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7401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it-IT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1"/>
            <a:ext cx="3410584" cy="6858000"/>
          </a:xfrm>
          <a:prstGeom prst="rect">
            <a:avLst/>
          </a:prstGeom>
          <a:solidFill>
            <a:srgbClr val="FBE1E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172213"/>
            <a:ext cx="7918704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it-IT"/>
              <a:t>Click to </a:t>
            </a:r>
            <a:r>
              <a:rPr lang="it-IT" err="1"/>
              <a:t>edit</a:t>
            </a:r>
            <a:r>
              <a:rPr lang="it-IT"/>
              <a:t> Master </a:t>
            </a:r>
            <a:r>
              <a:rPr lang="it-IT" err="1"/>
              <a:t>title</a:t>
            </a:r>
            <a:r>
              <a:rPr lang="it-IT"/>
              <a:t>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7" y="919251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u="none" baseline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it-IT"/>
              <a:t>Click to </a:t>
            </a:r>
            <a:r>
              <a:rPr lang="it-IT" err="1"/>
              <a:t>edit</a:t>
            </a:r>
            <a:r>
              <a:rPr lang="it-IT"/>
              <a:t> Master </a:t>
            </a:r>
            <a:r>
              <a:rPr lang="it-IT" err="1"/>
              <a:t>subtitle</a:t>
            </a:r>
            <a:r>
              <a:rPr lang="it-IT"/>
              <a:t>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39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4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it-IT" err="1"/>
              <a:t>Add</a:t>
            </a:r>
            <a:r>
              <a:rPr lang="it-IT"/>
              <a:t> tracker</a:t>
            </a:r>
          </a:p>
        </p:txBody>
      </p:sp>
      <p:pic>
        <p:nvPicPr>
          <p:cNvPr id="11" name="Immagine 6">
            <a:extLst>
              <a:ext uri="{FF2B5EF4-FFF2-40B4-BE49-F238E27FC236}">
                <a16:creationId xmlns:a16="http://schemas.microsoft.com/office/drawing/2014/main" id="{9378C056-35BE-49AB-B2BA-E0F2D589D0B5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8847" y="6156584"/>
            <a:ext cx="693154" cy="684341"/>
          </a:xfrm>
          <a:prstGeom prst="rect">
            <a:avLst/>
          </a:prstGeom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FCD42130-059F-4C45-8A5F-5E9BC7B1D4B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682673" y="642669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1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it-IT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1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›</a:t>
            </a:fld>
            <a:endParaRPr lang="it-IT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482450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4056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it-IT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7" y="172213"/>
            <a:ext cx="11082528" cy="989512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it-IT"/>
              <a:t>Click to </a:t>
            </a:r>
            <a:r>
              <a:rPr lang="it-IT" err="1"/>
              <a:t>edit</a:t>
            </a:r>
            <a:r>
              <a:rPr lang="it-IT"/>
              <a:t> Master </a:t>
            </a:r>
            <a:r>
              <a:rPr lang="it-IT" err="1"/>
              <a:t>title</a:t>
            </a:r>
            <a:r>
              <a:rPr lang="it-IT"/>
              <a:t>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it-IT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4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it-IT" err="1"/>
              <a:t>Add</a:t>
            </a:r>
            <a:r>
              <a:rPr lang="it-IT"/>
              <a:t> tracker</a:t>
            </a:r>
          </a:p>
        </p:txBody>
      </p:sp>
      <p:pic>
        <p:nvPicPr>
          <p:cNvPr id="9" name="Immagine 6">
            <a:extLst>
              <a:ext uri="{FF2B5EF4-FFF2-40B4-BE49-F238E27FC236}">
                <a16:creationId xmlns:a16="http://schemas.microsoft.com/office/drawing/2014/main" id="{7921163D-D396-4981-B9CE-2611AEC349EA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8847" y="6156584"/>
            <a:ext cx="693154" cy="684341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F1B43C3D-7EF7-4B82-8C05-EAE6BEB6D11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682673" y="642669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1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it-IT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1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›</a:t>
            </a:fld>
            <a:endParaRPr lang="it-IT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99001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61124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9D0A04A6-E518-46D2-89AF-A56A3AC02CD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21366"/>
            <a:ext cx="12192001" cy="6836634"/>
          </a:xfrm>
          <a:prstGeom prst="rect">
            <a:avLst/>
          </a:prstGeom>
        </p:spPr>
      </p:pic>
      <p:pic>
        <p:nvPicPr>
          <p:cNvPr id="9" name="Immagine 6">
            <a:extLst>
              <a:ext uri="{FF2B5EF4-FFF2-40B4-BE49-F238E27FC236}">
                <a16:creationId xmlns:a16="http://schemas.microsoft.com/office/drawing/2014/main" id="{3072B5BA-68FA-4B05-8C63-7C54D333AF3C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4414" y="5633678"/>
            <a:ext cx="1755861" cy="4032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it-IT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50585" y="5024639"/>
            <a:ext cx="5018983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1400" dirty="0"/>
            </a:lvl1pPr>
          </a:lstStyle>
          <a:p>
            <a:pPr lvl="0" algn="ctr"/>
            <a:r>
              <a:rPr lang="it-IT" err="1"/>
              <a:t>Edit</a:t>
            </a:r>
            <a:r>
              <a:rPr lang="it-IT"/>
              <a:t> date or </a:t>
            </a:r>
            <a:r>
              <a:rPr lang="it-IT" err="1"/>
              <a:t>title</a:t>
            </a:r>
            <a:r>
              <a:rPr lang="it-IT"/>
              <a:t>/</a:t>
            </a:r>
            <a:r>
              <a:rPr lang="it-IT" err="1"/>
              <a:t>role</a:t>
            </a:r>
            <a:endParaRPr lang="it-IT"/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751727" y="4621255"/>
            <a:ext cx="5018983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2000" dirty="0"/>
            </a:lvl1pPr>
          </a:lstStyle>
          <a:p>
            <a:pPr lvl="0" algn="ctr"/>
            <a:r>
              <a:rPr lang="it-IT"/>
              <a:t>Click to </a:t>
            </a:r>
            <a:r>
              <a:rPr lang="it-IT" err="1"/>
              <a:t>edit</a:t>
            </a:r>
            <a:r>
              <a:rPr lang="it-IT"/>
              <a:t> Master </a:t>
            </a:r>
            <a:r>
              <a:rPr lang="it-IT" err="1"/>
              <a:t>subtitle</a:t>
            </a:r>
            <a:r>
              <a:rPr lang="it-IT"/>
              <a:t>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751727" y="3145994"/>
            <a:ext cx="5018983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rmAutofit/>
          </a:bodyPr>
          <a:lstStyle>
            <a:lvl1pPr rtl="0">
              <a:defRPr lang="en-US" sz="4000" dirty="0"/>
            </a:lvl1pPr>
          </a:lstStyle>
          <a:p>
            <a:pPr lvl="0" algn="ctr"/>
            <a:r>
              <a:rPr lang="it-IT"/>
              <a:t>Click to </a:t>
            </a:r>
            <a:r>
              <a:rPr lang="it-IT" err="1"/>
              <a:t>edit</a:t>
            </a:r>
            <a:r>
              <a:rPr lang="it-IT"/>
              <a:t> Master </a:t>
            </a:r>
            <a:r>
              <a:rPr lang="it-IT" err="1"/>
              <a:t>title</a:t>
            </a:r>
            <a:r>
              <a:rPr lang="it-IT"/>
              <a:t>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82B95E5-3B1F-4E16-8D4A-078DCDD54A24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4925908" y="21368"/>
            <a:ext cx="7828074" cy="5218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45573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4729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it-IT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4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it-IT" err="1"/>
              <a:t>Add</a:t>
            </a:r>
            <a:r>
              <a:rPr lang="it-IT"/>
              <a:t> tracker</a:t>
            </a:r>
          </a:p>
        </p:txBody>
      </p:sp>
      <p:pic>
        <p:nvPicPr>
          <p:cNvPr id="6" name="Immagine 6">
            <a:extLst>
              <a:ext uri="{FF2B5EF4-FFF2-40B4-BE49-F238E27FC236}">
                <a16:creationId xmlns:a16="http://schemas.microsoft.com/office/drawing/2014/main" id="{76AA272F-26B5-4A78-8BE2-6ED34780554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8847" y="6156584"/>
            <a:ext cx="693154" cy="684341"/>
          </a:xfrm>
          <a:prstGeom prst="rect">
            <a:avLst/>
          </a:prstGeom>
        </p:spPr>
      </p:pic>
      <p:sp>
        <p:nvSpPr>
          <p:cNvPr id="10" name="Slide Number">
            <a:extLst>
              <a:ext uri="{FF2B5EF4-FFF2-40B4-BE49-F238E27FC236}">
                <a16:creationId xmlns:a16="http://schemas.microsoft.com/office/drawing/2014/main" id="{CDAE729A-0E42-44AA-B87F-9FCABC5DBFC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682673" y="642669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1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it-IT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1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›</a:t>
            </a:fld>
            <a:endParaRPr lang="it-IT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64697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65487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it-IT" sz="800"/>
              <a:t>Source: …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857F457-6247-44D4-BE3C-66B191EB78D5}"/>
              </a:ext>
            </a:extLst>
          </p:cNvPr>
          <p:cNvSpPr txBox="1"/>
          <p:nvPr userDrawn="1"/>
        </p:nvSpPr>
        <p:spPr>
          <a:xfrm>
            <a:off x="4064001" y="2367171"/>
            <a:ext cx="4064000" cy="216679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 rtl="0"/>
            <a:r>
              <a:rPr lang="it-IT" sz="13800"/>
              <a:t>END</a:t>
            </a:r>
          </a:p>
        </p:txBody>
      </p:sp>
    </p:spTree>
    <p:extLst>
      <p:ext uri="{BB962C8B-B14F-4D97-AF65-F5344CB8AC3E}">
        <p14:creationId xmlns:p14="http://schemas.microsoft.com/office/powerpoint/2010/main" val="69609596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C92BAA0B-2FF3-47CF-B8EA-7D942DDBD8DC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1666716" y="6534694"/>
            <a:ext cx="332117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23142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 defTabSz="623142" fontAlgn="auto">
                <a:spcBef>
                  <a:spcPts val="0"/>
                </a:spcBef>
                <a:spcAft>
                  <a:spcPts val="0"/>
                </a:spcAft>
                <a:defRPr/>
              </a:pPr>
              <a:t>‹N›</a:t>
            </a:fld>
            <a:endParaRPr lang="en-US" sz="800" b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69832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76640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it-IT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7" y="919251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b="0" baseline="0" dirty="0"/>
            </a:lvl1pPr>
          </a:lstStyle>
          <a:p>
            <a:pPr lvl="0"/>
            <a:r>
              <a:rPr lang="it-IT"/>
              <a:t>Click to </a:t>
            </a:r>
            <a:r>
              <a:rPr lang="it-IT" err="1"/>
              <a:t>edit</a:t>
            </a:r>
            <a:r>
              <a:rPr lang="it-IT"/>
              <a:t> Master </a:t>
            </a:r>
            <a:r>
              <a:rPr lang="it-IT" err="1"/>
              <a:t>subtitle</a:t>
            </a:r>
            <a:r>
              <a:rPr lang="it-IT"/>
              <a:t>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it-IT" sz="8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4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it-IT" err="1"/>
              <a:t>Add</a:t>
            </a:r>
            <a:r>
              <a:rPr lang="it-IT"/>
              <a:t>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7" y="172213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it-IT"/>
              <a:t>Click to </a:t>
            </a:r>
            <a:r>
              <a:rPr lang="it-IT" err="1"/>
              <a:t>edit</a:t>
            </a:r>
            <a:r>
              <a:rPr lang="it-IT"/>
              <a:t> Master </a:t>
            </a:r>
            <a:r>
              <a:rPr lang="it-IT" err="1"/>
              <a:t>title</a:t>
            </a:r>
            <a:r>
              <a:rPr lang="it-IT"/>
              <a:t> style</a:t>
            </a:r>
          </a:p>
        </p:txBody>
      </p:sp>
      <p:pic>
        <p:nvPicPr>
          <p:cNvPr id="12" name="Immagine 6">
            <a:extLst>
              <a:ext uri="{FF2B5EF4-FFF2-40B4-BE49-F238E27FC236}">
                <a16:creationId xmlns:a16="http://schemas.microsoft.com/office/drawing/2014/main" id="{B4A13DBC-DF42-4CA3-A78B-054EB729D6A7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8847" y="6156584"/>
            <a:ext cx="693154" cy="684341"/>
          </a:xfrm>
          <a:prstGeom prst="rect">
            <a:avLst/>
          </a:prstGeom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461D855C-57E7-48B3-BFF0-C85AFA1CD248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682673" y="642669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1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it-IT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1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›</a:t>
            </a:fld>
            <a:endParaRPr lang="it-IT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84748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8457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it-IT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7" y="1706564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it-IT"/>
              <a:t>Click to </a:t>
            </a:r>
            <a:r>
              <a:rPr lang="it-IT" err="1"/>
              <a:t>edit</a:t>
            </a:r>
            <a:r>
              <a:rPr lang="it-IT"/>
              <a:t> Master </a:t>
            </a:r>
            <a:r>
              <a:rPr lang="it-IT" err="1"/>
              <a:t>title</a:t>
            </a:r>
            <a:r>
              <a:rPr lang="it-IT"/>
              <a:t>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it-IT" sz="8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4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it-IT" err="1"/>
              <a:t>Add</a:t>
            </a:r>
            <a:r>
              <a:rPr lang="it-IT"/>
              <a:t> tracker</a:t>
            </a:r>
          </a:p>
        </p:txBody>
      </p:sp>
      <p:pic>
        <p:nvPicPr>
          <p:cNvPr id="13" name="Immagine 6">
            <a:extLst>
              <a:ext uri="{FF2B5EF4-FFF2-40B4-BE49-F238E27FC236}">
                <a16:creationId xmlns:a16="http://schemas.microsoft.com/office/drawing/2014/main" id="{3639FBBD-74BF-4327-BC1A-4D5C203E2A6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8847" y="6156584"/>
            <a:ext cx="693154" cy="684341"/>
          </a:xfrm>
          <a:prstGeom prst="rect">
            <a:avLst/>
          </a:prstGeom>
        </p:spPr>
      </p:pic>
      <p:sp>
        <p:nvSpPr>
          <p:cNvPr id="14" name="Slide Number">
            <a:extLst>
              <a:ext uri="{FF2B5EF4-FFF2-40B4-BE49-F238E27FC236}">
                <a16:creationId xmlns:a16="http://schemas.microsoft.com/office/drawing/2014/main" id="{222013AE-E488-438F-86CD-3F51FC7F9567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682673" y="642669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1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it-IT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1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›</a:t>
            </a:fld>
            <a:endParaRPr lang="it-IT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9433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0374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it-IT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1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it-IT"/>
              <a:t>Click to </a:t>
            </a:r>
            <a:r>
              <a:rPr lang="it-IT" err="1"/>
              <a:t>edit</a:t>
            </a:r>
            <a:r>
              <a:rPr lang="it-IT"/>
              <a:t> Master </a:t>
            </a:r>
            <a:r>
              <a:rPr lang="it-IT" err="1"/>
              <a:t>title</a:t>
            </a:r>
            <a:r>
              <a:rPr lang="it-IT"/>
              <a:t>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it-IT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4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it-IT" err="1"/>
              <a:t>Add</a:t>
            </a:r>
            <a:r>
              <a:rPr lang="it-IT"/>
              <a:t> tracker</a:t>
            </a:r>
          </a:p>
        </p:txBody>
      </p:sp>
      <p:pic>
        <p:nvPicPr>
          <p:cNvPr id="11" name="Immagine 6">
            <a:extLst>
              <a:ext uri="{FF2B5EF4-FFF2-40B4-BE49-F238E27FC236}">
                <a16:creationId xmlns:a16="http://schemas.microsoft.com/office/drawing/2014/main" id="{7EBE98A7-5420-4FFB-B222-8199D8779FC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8847" y="6156584"/>
            <a:ext cx="693154" cy="684341"/>
          </a:xfrm>
          <a:prstGeom prst="rect">
            <a:avLst/>
          </a:prstGeom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E1A4CEB6-55C3-4695-A100-7E9FAE33AB3C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682673" y="642669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1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it-IT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1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›</a:t>
            </a:fld>
            <a:endParaRPr lang="it-IT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50775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6436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it-IT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7" y="4580469"/>
            <a:ext cx="11082528" cy="677108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it-IT"/>
              <a:t>Click to </a:t>
            </a:r>
            <a:r>
              <a:rPr lang="it-IT" err="1"/>
              <a:t>edit</a:t>
            </a:r>
            <a:r>
              <a:rPr lang="it-IT"/>
              <a:t> Master </a:t>
            </a:r>
            <a:r>
              <a:rPr lang="it-IT" err="1"/>
              <a:t>title</a:t>
            </a:r>
            <a:r>
              <a:rPr lang="it-IT"/>
              <a:t>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it-IT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4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it-IT" err="1"/>
              <a:t>Add</a:t>
            </a:r>
            <a:r>
              <a:rPr lang="it-IT"/>
              <a:t> tracker</a:t>
            </a:r>
          </a:p>
        </p:txBody>
      </p:sp>
      <p:pic>
        <p:nvPicPr>
          <p:cNvPr id="10" name="Immagine 6">
            <a:extLst>
              <a:ext uri="{FF2B5EF4-FFF2-40B4-BE49-F238E27FC236}">
                <a16:creationId xmlns:a16="http://schemas.microsoft.com/office/drawing/2014/main" id="{F3467B94-7719-4A14-9B39-06D5C621092E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8847" y="6156584"/>
            <a:ext cx="693154" cy="684341"/>
          </a:xfrm>
          <a:prstGeom prst="rect">
            <a:avLst/>
          </a:pr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8A153B4B-28B9-456B-9A1C-E43B142CAD5B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682673" y="642669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1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it-IT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1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›</a:t>
            </a:fld>
            <a:endParaRPr lang="it-IT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40186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2440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it-IT" sz="3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3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it-IT"/>
              <a:t>“Click to </a:t>
            </a:r>
            <a:r>
              <a:rPr lang="it-IT" err="1"/>
              <a:t>add</a:t>
            </a:r>
            <a:r>
              <a:rPr lang="it-IT"/>
              <a:t>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3" y="4284631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it-IT"/>
              <a:t>Click to </a:t>
            </a:r>
            <a:r>
              <a:rPr lang="it-IT" err="1"/>
              <a:t>add</a:t>
            </a:r>
            <a:r>
              <a:rPr lang="it-IT"/>
              <a:t>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it-IT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4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it-IT" err="1"/>
              <a:t>Add</a:t>
            </a:r>
            <a:r>
              <a:rPr lang="it-IT"/>
              <a:t> tracker</a:t>
            </a:r>
          </a:p>
        </p:txBody>
      </p:sp>
      <p:pic>
        <p:nvPicPr>
          <p:cNvPr id="11" name="Immagine 6">
            <a:extLst>
              <a:ext uri="{FF2B5EF4-FFF2-40B4-BE49-F238E27FC236}">
                <a16:creationId xmlns:a16="http://schemas.microsoft.com/office/drawing/2014/main" id="{35CE27F9-412D-4834-BB6D-C13998AEA286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8847" y="6156584"/>
            <a:ext cx="693154" cy="684341"/>
          </a:xfrm>
          <a:prstGeom prst="rect">
            <a:avLst/>
          </a:prstGeom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2AFF56C7-0974-4CAC-818E-9D9D7193480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682673" y="642669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1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it-IT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1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›</a:t>
            </a:fld>
            <a:endParaRPr lang="it-IT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70477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52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it-IT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1" y="1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it-IT" sz="16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70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it-IT"/>
              <a:t>Click to </a:t>
            </a:r>
            <a:r>
              <a:rPr lang="it-IT" err="1"/>
              <a:t>edit</a:t>
            </a:r>
            <a:r>
              <a:rPr lang="it-IT"/>
              <a:t> Master </a:t>
            </a:r>
            <a:r>
              <a:rPr lang="it-IT" err="1"/>
              <a:t>title</a:t>
            </a:r>
            <a:r>
              <a:rPr lang="it-IT"/>
              <a:t>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it-IT"/>
              <a:t>Click to </a:t>
            </a:r>
            <a:r>
              <a:rPr lang="it-IT" err="1"/>
              <a:t>edit</a:t>
            </a:r>
            <a:r>
              <a:rPr lang="it-IT"/>
              <a:t> Master </a:t>
            </a:r>
            <a:r>
              <a:rPr lang="it-IT" err="1"/>
              <a:t>subtitle</a:t>
            </a:r>
            <a:r>
              <a:rPr lang="it-IT"/>
              <a:t>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it-IT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6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it-IT" err="1"/>
              <a:t>Add</a:t>
            </a:r>
            <a:r>
              <a:rPr lang="it-IT"/>
              <a:t> tracker</a:t>
            </a:r>
          </a:p>
        </p:txBody>
      </p:sp>
      <p:pic>
        <p:nvPicPr>
          <p:cNvPr id="11" name="Immagine 6">
            <a:extLst>
              <a:ext uri="{FF2B5EF4-FFF2-40B4-BE49-F238E27FC236}">
                <a16:creationId xmlns:a16="http://schemas.microsoft.com/office/drawing/2014/main" id="{D61C1688-2AB0-4267-B3D4-1012D38CC062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8847" y="6156584"/>
            <a:ext cx="693154" cy="684341"/>
          </a:xfrm>
          <a:prstGeom prst="rect">
            <a:avLst/>
          </a:prstGeom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3AB43B47-1358-45D1-ABF9-B35A5771AEE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682673" y="642669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1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it-IT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1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›</a:t>
            </a:fld>
            <a:endParaRPr lang="it-IT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93946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7659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it-IT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1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it-IT" sz="16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2744370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it-IT"/>
              <a:t>Click to </a:t>
            </a:r>
            <a:r>
              <a:rPr lang="it-IT" err="1"/>
              <a:t>edit</a:t>
            </a:r>
            <a:r>
              <a:rPr lang="it-IT"/>
              <a:t> Master </a:t>
            </a:r>
            <a:r>
              <a:rPr lang="it-IT" err="1"/>
              <a:t>title</a:t>
            </a:r>
            <a:r>
              <a:rPr lang="it-IT"/>
              <a:t>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5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it-IT"/>
              <a:t>Click to </a:t>
            </a:r>
            <a:r>
              <a:rPr lang="it-IT" err="1"/>
              <a:t>edit</a:t>
            </a:r>
            <a:r>
              <a:rPr lang="it-IT"/>
              <a:t> Master </a:t>
            </a:r>
            <a:r>
              <a:rPr lang="it-IT" err="1"/>
              <a:t>subtitle</a:t>
            </a:r>
            <a:r>
              <a:rPr lang="it-IT"/>
              <a:t>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it-IT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it-IT" err="1"/>
              <a:t>Add</a:t>
            </a:r>
            <a:r>
              <a:rPr lang="it-IT"/>
              <a:t> tracker</a:t>
            </a:r>
          </a:p>
        </p:txBody>
      </p:sp>
      <p:pic>
        <p:nvPicPr>
          <p:cNvPr id="11" name="Immagine 6">
            <a:extLst>
              <a:ext uri="{FF2B5EF4-FFF2-40B4-BE49-F238E27FC236}">
                <a16:creationId xmlns:a16="http://schemas.microsoft.com/office/drawing/2014/main" id="{74A7C67B-A5A2-434D-9D44-FDC7F73814B7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8847" y="6156584"/>
            <a:ext cx="693154" cy="684341"/>
          </a:xfrm>
          <a:prstGeom prst="rect">
            <a:avLst/>
          </a:prstGeom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E224BA0F-9173-452B-80DD-E7A5731534FC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682673" y="642669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610741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it-IT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610741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›</a:t>
            </a:fld>
            <a:endParaRPr lang="it-IT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37997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9" Type="http://schemas.openxmlformats.org/officeDocument/2006/relationships/tags" Target="../tags/tag16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11.xml"/><Relationship Id="rId42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.xml"/><Relationship Id="rId32" Type="http://schemas.openxmlformats.org/officeDocument/2006/relationships/tags" Target="../tags/tag9.xml"/><Relationship Id="rId37" Type="http://schemas.openxmlformats.org/officeDocument/2006/relationships/tags" Target="../tags/tag14.xml"/><Relationship Id="rId40" Type="http://schemas.openxmlformats.org/officeDocument/2006/relationships/tags" Target="../tags/tag17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tags" Target="../tags/tag5.xml"/><Relationship Id="rId36" Type="http://schemas.openxmlformats.org/officeDocument/2006/relationships/tags" Target="../tags/tag1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8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4.xml"/><Relationship Id="rId30" Type="http://schemas.openxmlformats.org/officeDocument/2006/relationships/tags" Target="../tags/tag7.xml"/><Relationship Id="rId35" Type="http://schemas.openxmlformats.org/officeDocument/2006/relationships/tags" Target="../tags/tag12.xml"/><Relationship Id="rId43" Type="http://schemas.openxmlformats.org/officeDocument/2006/relationships/tags" Target="../tags/tag20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33" Type="http://schemas.openxmlformats.org/officeDocument/2006/relationships/tags" Target="../tags/tag10.xml"/><Relationship Id="rId38" Type="http://schemas.openxmlformats.org/officeDocument/2006/relationships/tags" Target="../tags/tag15.xml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4203004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413" imgH="416" progId="TCLayout.ActiveDocument.1">
                  <p:embed/>
                </p:oleObj>
              </mc:Choice>
              <mc:Fallback>
                <p:oleObj name="think-cell Slide" r:id="rId44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it-IT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6"/>
            </p:custDataLst>
          </p:nvPr>
        </p:nvSpPr>
        <p:spPr>
          <a:xfrm>
            <a:off x="553972" y="6275900"/>
            <a:ext cx="7278624" cy="12561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sz="800" err="1"/>
              <a:t>Footnotes</a:t>
            </a:r>
            <a:endParaRPr lang="it-IT" sz="800"/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>
          <a:xfrm>
            <a:off x="554737" y="172213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it-IT"/>
              <a:t>Click to </a:t>
            </a:r>
            <a:r>
              <a:rPr lang="it-IT" err="1"/>
              <a:t>edit</a:t>
            </a:r>
            <a:r>
              <a:rPr lang="it-IT"/>
              <a:t> Master </a:t>
            </a:r>
            <a:r>
              <a:rPr lang="it-IT" err="1"/>
              <a:t>title</a:t>
            </a:r>
            <a:r>
              <a:rPr lang="it-IT"/>
              <a:t>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1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it-IT" sz="160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it-IT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459600" cy="12561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it-IT" sz="80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8"/>
            </p:custDataLst>
          </p:nvPr>
        </p:nvSpPr>
        <p:spPr>
          <a:xfrm>
            <a:off x="5987739" y="2170801"/>
            <a:ext cx="3049253" cy="58095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it-IT" sz="1600" err="1"/>
              <a:t>Above</a:t>
            </a:r>
            <a:r>
              <a:rPr lang="it-IT" sz="1600"/>
              <a:t> Chart </a:t>
            </a:r>
            <a:r>
              <a:rPr lang="it-IT" sz="1600" err="1"/>
              <a:t>Exhibit</a:t>
            </a:r>
            <a:r>
              <a:rPr lang="it-IT" sz="1600"/>
              <a:t> Title</a:t>
            </a:r>
          </a:p>
          <a:p>
            <a:pPr lvl="0" rtl="0"/>
            <a:r>
              <a:rPr lang="it-IT" sz="1600" b="0"/>
              <a:t>Unit of </a:t>
            </a:r>
            <a:r>
              <a:rPr lang="it-IT" sz="1600" b="0" err="1"/>
              <a:t>Measure</a:t>
            </a:r>
            <a:endParaRPr lang="it-IT" sz="1600" b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1"/>
            <a:ext cx="2542363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it-IT"/>
              <a:t>Click to </a:t>
            </a:r>
            <a:r>
              <a:rPr lang="it-IT" err="1"/>
              <a:t>edit</a:t>
            </a:r>
            <a:r>
              <a:rPr lang="it-IT"/>
              <a:t> Master text styles</a:t>
            </a:r>
          </a:p>
          <a:p>
            <a:pPr lvl="1"/>
            <a:r>
              <a:rPr lang="it-IT"/>
              <a:t>Second </a:t>
            </a:r>
            <a:r>
              <a:rPr lang="it-IT" err="1"/>
              <a:t>level</a:t>
            </a:r>
            <a:endParaRPr lang="it-IT"/>
          </a:p>
          <a:p>
            <a:pPr lvl="2"/>
            <a:r>
              <a:rPr lang="it-IT"/>
              <a:t>Third </a:t>
            </a:r>
            <a:r>
              <a:rPr lang="it-IT" err="1"/>
              <a:t>level</a:t>
            </a:r>
            <a:endParaRPr lang="it-IT"/>
          </a:p>
          <a:p>
            <a:pPr lvl="3"/>
            <a:r>
              <a:rPr lang="it-IT" err="1"/>
              <a:t>Fourth</a:t>
            </a:r>
            <a:r>
              <a:rPr lang="it-IT"/>
              <a:t> </a:t>
            </a:r>
            <a:r>
              <a:rPr lang="it-IT" err="1"/>
              <a:t>level</a:t>
            </a:r>
            <a:endParaRPr lang="it-IT"/>
          </a:p>
          <a:p>
            <a:pPr lvl="4"/>
            <a:r>
              <a:rPr lang="it-IT"/>
              <a:t>Fifth </a:t>
            </a:r>
            <a:r>
              <a:rPr lang="it-IT" err="1"/>
              <a:t>level</a:t>
            </a:r>
            <a:endParaRPr lang="it-IT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3433A813-6D2D-486A-968C-C789DD0100E3}"/>
              </a:ext>
            </a:extLst>
          </p:cNvPr>
          <p:cNvGrpSpPr/>
          <p:nvPr userDrawn="1"/>
        </p:nvGrpSpPr>
        <p:grpSpPr>
          <a:xfrm>
            <a:off x="10317307" y="3148033"/>
            <a:ext cx="1332082" cy="962661"/>
            <a:chOff x="10162879" y="3241584"/>
            <a:chExt cx="1332081" cy="962662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28788823-2DC7-4758-AAA8-4919AFBBD571}"/>
                </a:ext>
              </a:extLst>
            </p:cNvPr>
            <p:cNvSpPr txBox="1"/>
            <p:nvPr/>
          </p:nvSpPr>
          <p:spPr>
            <a:xfrm>
              <a:off x="10886522" y="3241584"/>
              <a:ext cx="60843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it-IT" sz="1400"/>
                <a:t>Legend</a:t>
              </a:r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E7B14925-CE43-41D1-AC4B-2EB647CAF237}"/>
                </a:ext>
              </a:extLst>
            </p:cNvPr>
            <p:cNvSpPr txBox="1"/>
            <p:nvPr/>
          </p:nvSpPr>
          <p:spPr>
            <a:xfrm>
              <a:off x="10886522" y="3613005"/>
              <a:ext cx="60843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it-IT" sz="1400"/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76C3D1FA-83A6-413A-9907-33E420B4C160}"/>
                </a:ext>
              </a:extLst>
            </p:cNvPr>
            <p:cNvSpPr txBox="1"/>
            <p:nvPr/>
          </p:nvSpPr>
          <p:spPr>
            <a:xfrm>
              <a:off x="10886522" y="3984426"/>
              <a:ext cx="60843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it-IT" sz="1400"/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813FD26B-3624-43A5-8E1D-62E15585E88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it-IT" sz="1400" baseline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06A1BFE4-F1B6-4F8E-A05F-7F78EFAA301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it-IT" sz="1400" baseline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7F180462-3C6C-4516-9D3F-CB9CEA26ACD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it-IT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6AEBBCCF-A7A1-4D1C-94D4-477975E02653}"/>
              </a:ext>
            </a:extLst>
          </p:cNvPr>
          <p:cNvGrpSpPr/>
          <p:nvPr userDrawn="1"/>
        </p:nvGrpSpPr>
        <p:grpSpPr>
          <a:xfrm>
            <a:off x="10688320" y="1145373"/>
            <a:ext cx="961070" cy="1731859"/>
            <a:chOff x="7723680" y="1702457"/>
            <a:chExt cx="961070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BEDD5784-3B77-4F7C-BB47-14FD2891ACE9}"/>
                </a:ext>
              </a:extLst>
            </p:cNvPr>
            <p:cNvSpPr txBox="1"/>
            <p:nvPr/>
          </p:nvSpPr>
          <p:spPr>
            <a:xfrm>
              <a:off x="8076312" y="1707629"/>
              <a:ext cx="60843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it-IT" sz="1400"/>
                <a:t>Legend</a:t>
              </a: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78502844-5BDA-43B7-BFBE-B7BFF84C4154}"/>
                </a:ext>
              </a:extLst>
            </p:cNvPr>
            <p:cNvSpPr txBox="1"/>
            <p:nvPr/>
          </p:nvSpPr>
          <p:spPr>
            <a:xfrm>
              <a:off x="8076312" y="2083087"/>
              <a:ext cx="60843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it-IT" sz="1400"/>
                <a:t>Legend</a:t>
              </a:r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325FC77A-9116-43E4-A617-976295FEE41C}"/>
                </a:ext>
              </a:extLst>
            </p:cNvPr>
            <p:cNvSpPr txBox="1"/>
            <p:nvPr/>
          </p:nvSpPr>
          <p:spPr>
            <a:xfrm>
              <a:off x="8076312" y="2458547"/>
              <a:ext cx="60843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it-IT" sz="1400"/>
                <a:t>Legend</a:t>
              </a:r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91FC3B89-77EF-4E7B-847B-6FA9F4F9BB40}"/>
                </a:ext>
              </a:extLst>
            </p:cNvPr>
            <p:cNvSpPr txBox="1"/>
            <p:nvPr/>
          </p:nvSpPr>
          <p:spPr>
            <a:xfrm>
              <a:off x="8076312" y="2834005"/>
              <a:ext cx="60843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it-IT" sz="1400"/>
                <a:t>Legend</a:t>
              </a:r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FEF1153F-E918-455B-83C9-450E389D56A3}"/>
                </a:ext>
              </a:extLst>
            </p:cNvPr>
            <p:cNvSpPr txBox="1"/>
            <p:nvPr/>
          </p:nvSpPr>
          <p:spPr>
            <a:xfrm>
              <a:off x="8076312" y="3209467"/>
              <a:ext cx="60843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it-IT" sz="1400"/>
                <a:t>Legend</a:t>
              </a:r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9C92731C-045A-43BC-8886-D56A119953BE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9C717AB4-3BA6-4FE2-B19B-D9EE6B23ADE3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it-IT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94AC484E-1022-4CFF-B189-372B8D7B5944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it-IT" sz="140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AE88923C-F20C-435C-8904-92A8ED73E692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C9F3F2FC-614C-44ED-B9A3-E391AB843121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it-IT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9D7B02CF-E87D-4516-B771-CB029DA5D178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it-IT" sz="140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436C686B-84C3-4BB2-A4A7-7D609B842040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4348E1B3-82E9-4B80-A19D-CFFB79B3B6D5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it-IT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52C28D43-14A6-4CB2-AAD2-C659BB34953B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it-IT" sz="140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6772B36C-9434-45AD-BDAA-E854ED64142C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A46486F8-4575-4E49-8B85-8017ACEFEEB4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it-IT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6AC15956-F6D1-4E1C-8263-E2ABC5D42A72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it-IT" sz="140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8AED672C-19B7-4B0C-826B-813FB8A34675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0F5C6313-B362-4447-84F2-C13DE788E9A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it-IT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65D7321A-41E1-42DD-81DD-7828D4419787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it-IT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857E734A-A1D0-4DB0-8A2E-FCA6C5F58A11}"/>
              </a:ext>
            </a:extLst>
          </p:cNvPr>
          <p:cNvGrpSpPr/>
          <p:nvPr userDrawn="1"/>
        </p:nvGrpSpPr>
        <p:grpSpPr>
          <a:xfrm>
            <a:off x="10714806" y="4379310"/>
            <a:ext cx="934585" cy="1721657"/>
            <a:chOff x="10652400" y="4320636"/>
            <a:chExt cx="934584" cy="1721658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FBD6447C-6C10-4CC7-A49B-1E57B2718285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it-IT" sz="14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E5D5AA2E-BBE4-4DFC-82E9-737DD0DD148D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it-IT" sz="14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384E5701-B3ED-4CB2-AB45-21B35E95D4FA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it-IT" sz="14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676763DF-1511-46D7-9E57-ED57A63A7AC2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it-IT" sz="14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D3DD0974-9762-4CA2-A47C-8EAB51739D8E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it-IT" sz="1400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1FFF93F1-4F17-43F4-991A-5EFF2D88B7F0}"/>
                </a:ext>
              </a:extLst>
            </p:cNvPr>
            <p:cNvSpPr txBox="1"/>
            <p:nvPr/>
          </p:nvSpPr>
          <p:spPr>
            <a:xfrm>
              <a:off x="10978546" y="4320636"/>
              <a:ext cx="60843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it-IT" sz="1400"/>
                <a:t>Legend</a:t>
              </a:r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D9775D6C-1CEA-4897-A3DF-5CFB0C5EA974}"/>
                </a:ext>
              </a:extLst>
            </p:cNvPr>
            <p:cNvSpPr txBox="1"/>
            <p:nvPr/>
          </p:nvSpPr>
          <p:spPr>
            <a:xfrm>
              <a:off x="10978546" y="4700134"/>
              <a:ext cx="60843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it-IT" sz="1400"/>
                <a:t>Legend</a:t>
              </a:r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FCD6C4B6-3082-4383-B678-467F81AB49DF}"/>
                </a:ext>
              </a:extLst>
            </p:cNvPr>
            <p:cNvSpPr txBox="1"/>
            <p:nvPr/>
          </p:nvSpPr>
          <p:spPr>
            <a:xfrm>
              <a:off x="10978546" y="5079632"/>
              <a:ext cx="60843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it-IT" sz="1400"/>
                <a:t>Legend</a:t>
              </a:r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60763AA1-EE9C-4F67-895A-D386B6446E89}"/>
                </a:ext>
              </a:extLst>
            </p:cNvPr>
            <p:cNvSpPr txBox="1"/>
            <p:nvPr/>
          </p:nvSpPr>
          <p:spPr>
            <a:xfrm>
              <a:off x="10978546" y="5451053"/>
              <a:ext cx="60843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it-IT" sz="1400"/>
                <a:t>Legend</a:t>
              </a:r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A8AE0318-D8BA-4B4E-9452-0C460E9CC1E9}"/>
                </a:ext>
              </a:extLst>
            </p:cNvPr>
            <p:cNvSpPr txBox="1"/>
            <p:nvPr/>
          </p:nvSpPr>
          <p:spPr>
            <a:xfrm>
              <a:off x="10978545" y="5822474"/>
              <a:ext cx="60843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it-IT" sz="1400"/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41269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</p:sldLayoutIdLst>
  <p:txStyles>
    <p:titleStyle>
      <a:lvl1pPr algn="l" defTabSz="914396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96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0" indent="-223195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791" indent="-215996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7588" indent="-151197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184" indent="-147598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46" indent="-171449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46" indent="-171449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46" indent="-171449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46" indent="-171449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8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6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4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93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91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9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87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86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4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5A7FF52-5A89-4194-90FD-388599EE1D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01" y="1672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5A7FF52-5A89-4194-90FD-388599EE1D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01" y="1672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7">
            <a:extLst>
              <a:ext uri="{FF2B5EF4-FFF2-40B4-BE49-F238E27FC236}">
                <a16:creationId xmlns:a16="http://schemas.microsoft.com/office/drawing/2014/main" id="{515A2254-979A-4284-82F9-EF4A6B59CD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6545" y="2906011"/>
            <a:ext cx="4466097" cy="1354197"/>
          </a:xfrm>
        </p:spPr>
        <p:txBody>
          <a:bodyPr vert="horz" anchor="ctr">
            <a:normAutofit fontScale="90000"/>
          </a:bodyPr>
          <a:lstStyle/>
          <a:p>
            <a:r>
              <a:rPr lang="it-IT" sz="4400" dirty="0">
                <a:solidFill>
                  <a:srgbClr val="DE287D"/>
                </a:solidFill>
              </a:rPr>
              <a:t>OPEN FIBER  </a:t>
            </a:r>
            <a:r>
              <a:rPr lang="it-IT" sz="2700" dirty="0">
                <a:solidFill>
                  <a:schemeClr val="accent4">
                    <a:lumMod val="25000"/>
                  </a:schemeClr>
                </a:solidFill>
              </a:rPr>
              <a:t>CONTRATTI SERVIZI TECNICI BANDO ITALIA A 1 GIGA</a:t>
            </a:r>
            <a:endParaRPr lang="it-IT" dirty="0">
              <a:solidFill>
                <a:schemeClr val="accent4">
                  <a:lumMod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55065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Title 2">
            <a:extLst>
              <a:ext uri="{FF2B5EF4-FFF2-40B4-BE49-F238E27FC236}">
                <a16:creationId xmlns:a16="http://schemas.microsoft.com/office/drawing/2014/main" id="{9A7DB50D-2465-FD83-4457-1CF66B2ED888}"/>
              </a:ext>
            </a:extLst>
          </p:cNvPr>
          <p:cNvSpPr txBox="1">
            <a:spLocks/>
          </p:cNvSpPr>
          <p:nvPr/>
        </p:nvSpPr>
        <p:spPr>
          <a:xfrm>
            <a:off x="190586" y="120188"/>
            <a:ext cx="11810827" cy="460046"/>
          </a:xfrm>
          <a:prstGeom prst="rect">
            <a:avLst/>
          </a:prstGeom>
          <a:noFill/>
        </p:spPr>
        <p:txBody>
          <a:bodyPr vert="horz" wrap="square" lIns="0" tIns="0" rIns="130099" bIns="0" rtlCol="0" anchor="ctr" anchorCtr="0">
            <a:noAutofit/>
          </a:bodyPr>
          <a:lstStyle>
            <a:lvl1pPr algn="l" defTabSz="173463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67" b="0" i="0" kern="1200" cap="all" spc="-133" baseline="0">
                <a:solidFill>
                  <a:schemeClr val="tx2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pPr marL="0" marR="0" lvl="0" indent="0" algn="l" defTabSz="1734627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2400" b="1" dirty="0">
                <a:solidFill>
                  <a:srgbClr val="000088"/>
                </a:solidFill>
                <a:latin typeface="Graphik Black" panose="020B0A03030202060203" pitchFamily="34" charset="0"/>
                <a:ea typeface="+mn-ea"/>
                <a:cs typeface="+mn-cs"/>
              </a:rPr>
              <a:t>SERVIZI TECNICI – FIGURE PROGESSIONALI E REQUISITI</a:t>
            </a: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F7B1F6E9-3F8B-7AB7-CB13-393BE6797E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4645" y="1344774"/>
            <a:ext cx="10925908" cy="4343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1803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Title 2">
            <a:extLst>
              <a:ext uri="{FF2B5EF4-FFF2-40B4-BE49-F238E27FC236}">
                <a16:creationId xmlns:a16="http://schemas.microsoft.com/office/drawing/2014/main" id="{9A7DB50D-2465-FD83-4457-1CF66B2ED888}"/>
              </a:ext>
            </a:extLst>
          </p:cNvPr>
          <p:cNvSpPr txBox="1">
            <a:spLocks/>
          </p:cNvSpPr>
          <p:nvPr/>
        </p:nvSpPr>
        <p:spPr>
          <a:xfrm>
            <a:off x="190586" y="120188"/>
            <a:ext cx="11810827" cy="460046"/>
          </a:xfrm>
          <a:prstGeom prst="rect">
            <a:avLst/>
          </a:prstGeom>
          <a:noFill/>
        </p:spPr>
        <p:txBody>
          <a:bodyPr vert="horz" wrap="square" lIns="0" tIns="0" rIns="130099" bIns="0" rtlCol="0" anchor="ctr" anchorCtr="0">
            <a:noAutofit/>
          </a:bodyPr>
          <a:lstStyle>
            <a:lvl1pPr algn="l" defTabSz="173463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67" b="0" i="0" kern="1200" cap="all" spc="-133" baseline="0">
                <a:solidFill>
                  <a:schemeClr val="tx2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pPr marL="0" marR="0" lvl="0" indent="0" algn="l" defTabSz="1734627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2400" b="1" dirty="0">
                <a:solidFill>
                  <a:srgbClr val="000088"/>
                </a:solidFill>
                <a:latin typeface="Graphik Black" panose="020B0A03030202060203" pitchFamily="34" charset="0"/>
                <a:ea typeface="+mn-ea"/>
                <a:cs typeface="+mn-cs"/>
              </a:rPr>
              <a:t>SERVIZI TECNICI – Dettaglio professionisti per provincia</a:t>
            </a: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6E4FB8A0-F4AA-8ED4-E4F7-88352BB23D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33263" y="477551"/>
            <a:ext cx="5048006" cy="6346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08323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heme/theme1.xml><?xml version="1.0" encoding="utf-8"?>
<a:theme xmlns:a="http://schemas.openxmlformats.org/drawingml/2006/main" name="1_White">
  <a:themeElements>
    <a:clrScheme name="Scheme1">
      <a:dk1>
        <a:srgbClr val="7F7F7F"/>
      </a:dk1>
      <a:lt1>
        <a:srgbClr val="FFFFFF"/>
      </a:lt1>
      <a:dk2>
        <a:srgbClr val="7F7F7F"/>
      </a:dk2>
      <a:lt2>
        <a:srgbClr val="4D4D4D"/>
      </a:lt2>
      <a:accent1>
        <a:srgbClr val="E32D91"/>
      </a:accent1>
      <a:accent2>
        <a:srgbClr val="C830CC"/>
      </a:accent2>
      <a:accent3>
        <a:srgbClr val="4EA6DC"/>
      </a:accent3>
      <a:accent4>
        <a:srgbClr val="D8D8DD"/>
      </a:accent4>
      <a:accent5>
        <a:srgbClr val="8971E1"/>
      </a:accent5>
      <a:accent6>
        <a:srgbClr val="D54773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7F7F7F"/>
        </a:dk1>
        <a:lt1>
          <a:srgbClr val="FFFFFF"/>
        </a:lt1>
        <a:dk2>
          <a:srgbClr val="7F7F7F"/>
        </a:dk2>
        <a:lt2>
          <a:srgbClr val="4D4D4D"/>
        </a:lt2>
        <a:accent1>
          <a:srgbClr val="E32D91"/>
        </a:accent1>
        <a:accent2>
          <a:srgbClr val="C830CC"/>
        </a:accent2>
        <a:accent3>
          <a:srgbClr val="4EA6DC"/>
        </a:accent3>
        <a:accent4>
          <a:srgbClr val="D8D8DD"/>
        </a:accent4>
        <a:accent5>
          <a:srgbClr val="8971E1"/>
        </a:accent5>
        <a:accent6>
          <a:srgbClr val="D54773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EN_OPENFIBER_16x9_OF_v12.potx" id="{F1A7A684-C669-4B7A-9B24-0EA973F0BD09}" vid="{719963A7-E2CB-4B46-8D49-47CC2EEB6F5C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22</TotalTime>
  <Words>27</Words>
  <Application>Microsoft Office PowerPoint</Application>
  <PresentationFormat>Widescreen</PresentationFormat>
  <Paragraphs>6</Paragraphs>
  <Slides>3</Slides>
  <Notes>3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5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3</vt:i4>
      </vt:variant>
    </vt:vector>
  </HeadingPairs>
  <TitlesOfParts>
    <vt:vector size="10" baseType="lpstr">
      <vt:lpstr>Arial</vt:lpstr>
      <vt:lpstr>Calibri</vt:lpstr>
      <vt:lpstr>Graphik Black</vt:lpstr>
      <vt:lpstr>Segoe UI</vt:lpstr>
      <vt:lpstr>Wingdings</vt:lpstr>
      <vt:lpstr>1_White</vt:lpstr>
      <vt:lpstr>think-cell Slide</vt:lpstr>
      <vt:lpstr>OPEN FIBER  CONTRATTI SERVIZI TECNICI BANDO ITALIA A 1 GIGA</vt:lpstr>
      <vt:lpstr>Presentazione standard di PowerPoint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tratti progettazione</dc:title>
  <dc:creator>Screpanti Marco (Open Fiber)</dc:creator>
  <cp:lastModifiedBy>Vazzana Giuseppe Pio Alessandro (Open Fiber)</cp:lastModifiedBy>
  <cp:revision>9</cp:revision>
  <dcterms:created xsi:type="dcterms:W3CDTF">2023-04-06T14:52:09Z</dcterms:created>
  <dcterms:modified xsi:type="dcterms:W3CDTF">2023-05-16T11:41:32Z</dcterms:modified>
</cp:coreProperties>
</file>